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9" r:id="rId5"/>
  </p:sldMasterIdLst>
  <p:notesMasterIdLst>
    <p:notesMasterId r:id="rId16"/>
  </p:notesMasterIdLst>
  <p:handoutMasterIdLst>
    <p:handoutMasterId r:id="rId17"/>
  </p:handoutMasterIdLst>
  <p:sldIdLst>
    <p:sldId id="358" r:id="rId6"/>
    <p:sldId id="341" r:id="rId7"/>
    <p:sldId id="364" r:id="rId8"/>
    <p:sldId id="362" r:id="rId9"/>
    <p:sldId id="305" r:id="rId10"/>
    <p:sldId id="353" r:id="rId11"/>
    <p:sldId id="311" r:id="rId12"/>
    <p:sldId id="313" r:id="rId13"/>
    <p:sldId id="355" r:id="rId14"/>
    <p:sldId id="329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AFA"/>
    <a:srgbClr val="FFFFFA"/>
    <a:srgbClr val="FAFAFF"/>
    <a:srgbClr val="FAFFFF"/>
    <a:srgbClr val="FFFFFD"/>
    <a:srgbClr val="FFFDFF"/>
    <a:srgbClr val="FDFFFF"/>
    <a:srgbClr val="FFFFFE"/>
    <a:srgbClr val="FFFEFF"/>
    <a:srgbClr val="FE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E66A11-E134-F743-AD1A-E9050EC916E4}" v="13" dt="2024-06-03T07:53:13.572"/>
    <p1510:client id="{B0EFDF11-F69B-14B2-0AC3-0F8F69D4C566}" v="12" dt="2024-06-03T07:43:35.4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>
        <p:guide pos="3840"/>
        <p:guide orient="horz" pos="89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athan Reißig" userId="S::jonathan.reissig@bcxp.de::04f6559b-130f-4419-920a-0aaca92b7ea7" providerId="AD" clId="Web-{B82042A7-3A66-965C-1484-40BA1BC5E49F}"/>
    <pc:docChg chg="modSld">
      <pc:chgData name="Jonathan Reißig" userId="S::jonathan.reissig@bcxp.de::04f6559b-130f-4419-920a-0aaca92b7ea7" providerId="AD" clId="Web-{B82042A7-3A66-965C-1484-40BA1BC5E49F}" dt="2024-05-31T09:32:08.060" v="71" actId="14100"/>
      <pc:docMkLst>
        <pc:docMk/>
      </pc:docMkLst>
      <pc:sldChg chg="modSp">
        <pc:chgData name="Jonathan Reißig" userId="S::jonathan.reissig@bcxp.de::04f6559b-130f-4419-920a-0aaca92b7ea7" providerId="AD" clId="Web-{B82042A7-3A66-965C-1484-40BA1BC5E49F}" dt="2024-05-31T09:27:10.738" v="26" actId="1076"/>
        <pc:sldMkLst>
          <pc:docMk/>
          <pc:sldMk cId="1978077012" sldId="341"/>
        </pc:sldMkLst>
        <pc:picChg chg="mod">
          <ac:chgData name="Jonathan Reißig" userId="S::jonathan.reissig@bcxp.de::04f6559b-130f-4419-920a-0aaca92b7ea7" providerId="AD" clId="Web-{B82042A7-3A66-965C-1484-40BA1BC5E49F}" dt="2024-05-31T09:27:10.738" v="26" actId="1076"/>
          <ac:picMkLst>
            <pc:docMk/>
            <pc:sldMk cId="1978077012" sldId="341"/>
            <ac:picMk id="8" creationId="{557A138A-FF12-4422-1507-EA601D5A265D}"/>
          </ac:picMkLst>
        </pc:picChg>
      </pc:sldChg>
      <pc:sldChg chg="modSp">
        <pc:chgData name="Jonathan Reißig" userId="S::jonathan.reissig@bcxp.de::04f6559b-130f-4419-920a-0aaca92b7ea7" providerId="AD" clId="Web-{B82042A7-3A66-965C-1484-40BA1BC5E49F}" dt="2024-05-31T09:32:08.060" v="71" actId="14100"/>
        <pc:sldMkLst>
          <pc:docMk/>
          <pc:sldMk cId="4197925210" sldId="362"/>
        </pc:sldMkLst>
        <pc:spChg chg="mod">
          <ac:chgData name="Jonathan Reißig" userId="S::jonathan.reissig@bcxp.de::04f6559b-130f-4419-920a-0aaca92b7ea7" providerId="AD" clId="Web-{B82042A7-3A66-965C-1484-40BA1BC5E49F}" dt="2024-05-31T09:32:08.060" v="71" actId="14100"/>
          <ac:spMkLst>
            <pc:docMk/>
            <pc:sldMk cId="4197925210" sldId="362"/>
            <ac:spMk id="21" creationId="{3730653B-8EFD-5845-B97F-607C98307E1B}"/>
          </ac:spMkLst>
        </pc:spChg>
      </pc:sldChg>
      <pc:sldChg chg="addSp delSp modSp">
        <pc:chgData name="Jonathan Reißig" userId="S::jonathan.reissig@bcxp.de::04f6559b-130f-4419-920a-0aaca92b7ea7" providerId="AD" clId="Web-{B82042A7-3A66-965C-1484-40BA1BC5E49F}" dt="2024-05-31T09:25:25.437" v="21"/>
        <pc:sldMkLst>
          <pc:docMk/>
          <pc:sldMk cId="1689057455" sldId="363"/>
        </pc:sldMkLst>
        <pc:spChg chg="del">
          <ac:chgData name="Jonathan Reißig" userId="S::jonathan.reissig@bcxp.de::04f6559b-130f-4419-920a-0aaca92b7ea7" providerId="AD" clId="Web-{B82042A7-3A66-965C-1484-40BA1BC5E49F}" dt="2024-05-31T09:25:03.374" v="20"/>
          <ac:spMkLst>
            <pc:docMk/>
            <pc:sldMk cId="1689057455" sldId="363"/>
            <ac:spMk id="2" creationId="{9B74E4FD-689A-48A5-9F54-9BF728F21EF6}"/>
          </ac:spMkLst>
        </pc:spChg>
        <pc:spChg chg="mod">
          <ac:chgData name="Jonathan Reißig" userId="S::jonathan.reissig@bcxp.de::04f6559b-130f-4419-920a-0aaca92b7ea7" providerId="AD" clId="Web-{B82042A7-3A66-965C-1484-40BA1BC5E49F}" dt="2024-05-31T09:24:39.764" v="19" actId="20577"/>
          <ac:spMkLst>
            <pc:docMk/>
            <pc:sldMk cId="1689057455" sldId="363"/>
            <ac:spMk id="3" creationId="{3300A462-3F2A-4D01-987B-36241D1EAEDE}"/>
          </ac:spMkLst>
        </pc:spChg>
        <pc:spChg chg="mod">
          <ac:chgData name="Jonathan Reißig" userId="S::jonathan.reissig@bcxp.de::04f6559b-130f-4419-920a-0aaca92b7ea7" providerId="AD" clId="Web-{B82042A7-3A66-965C-1484-40BA1BC5E49F}" dt="2024-05-31T09:23:43.793" v="4" actId="20577"/>
          <ac:spMkLst>
            <pc:docMk/>
            <pc:sldMk cId="1689057455" sldId="363"/>
            <ac:spMk id="4" creationId="{3D6CD97C-1AB0-4589-A28C-C4E245EE09DB}"/>
          </ac:spMkLst>
        </pc:spChg>
        <pc:picChg chg="add mod ord">
          <ac:chgData name="Jonathan Reißig" userId="S::jonathan.reissig@bcxp.de::04f6559b-130f-4419-920a-0aaca92b7ea7" providerId="AD" clId="Web-{B82042A7-3A66-965C-1484-40BA1BC5E49F}" dt="2024-05-31T09:25:25.437" v="21"/>
          <ac:picMkLst>
            <pc:docMk/>
            <pc:sldMk cId="1689057455" sldId="363"/>
            <ac:picMk id="5" creationId="{F79B5827-C82E-F0C5-871D-79F3AE7B7927}"/>
          </ac:picMkLst>
        </pc:picChg>
      </pc:sldChg>
      <pc:sldChg chg="addSp delSp modSp">
        <pc:chgData name="Jonathan Reißig" userId="S::jonathan.reissig@bcxp.de::04f6559b-130f-4419-920a-0aaca92b7ea7" providerId="AD" clId="Web-{B82042A7-3A66-965C-1484-40BA1BC5E49F}" dt="2024-05-31T09:31:35.887" v="68"/>
        <pc:sldMkLst>
          <pc:docMk/>
          <pc:sldMk cId="2792681395" sldId="364"/>
        </pc:sldMkLst>
        <pc:spChg chg="mod">
          <ac:chgData name="Jonathan Reißig" userId="S::jonathan.reissig@bcxp.de::04f6559b-130f-4419-920a-0aaca92b7ea7" providerId="AD" clId="Web-{B82042A7-3A66-965C-1484-40BA1BC5E49F}" dt="2024-05-31T09:30:03.446" v="53" actId="20577"/>
          <ac:spMkLst>
            <pc:docMk/>
            <pc:sldMk cId="2792681395" sldId="364"/>
            <ac:spMk id="4" creationId="{3D6CD97C-1AB0-4589-A28C-C4E245EE09DB}"/>
          </ac:spMkLst>
        </pc:spChg>
        <pc:picChg chg="add del mod">
          <ac:chgData name="Jonathan Reißig" userId="S::jonathan.reissig@bcxp.de::04f6559b-130f-4419-920a-0aaca92b7ea7" providerId="AD" clId="Web-{B82042A7-3A66-965C-1484-40BA1BC5E49F}" dt="2024-05-31T09:31:35.887" v="68"/>
          <ac:picMkLst>
            <pc:docMk/>
            <pc:sldMk cId="2792681395" sldId="364"/>
            <ac:picMk id="21" creationId="{D2CE1913-C411-4B9B-FAAC-156F33A0EF8E}"/>
          </ac:picMkLst>
        </pc:picChg>
        <pc:picChg chg="add del mod">
          <ac:chgData name="Jonathan Reißig" userId="S::jonathan.reissig@bcxp.de::04f6559b-130f-4419-920a-0aaca92b7ea7" providerId="AD" clId="Web-{B82042A7-3A66-965C-1484-40BA1BC5E49F}" dt="2024-05-31T09:31:34.058" v="67"/>
          <ac:picMkLst>
            <pc:docMk/>
            <pc:sldMk cId="2792681395" sldId="364"/>
            <ac:picMk id="24" creationId="{BAF343EE-E32A-B46B-06C5-CF0AB9E6B788}"/>
          </ac:picMkLst>
        </pc:picChg>
      </pc:sldChg>
    </pc:docChg>
  </pc:docChgLst>
  <pc:docChgLst>
    <pc:chgData name="Jonathan Reißig" userId="S::jonathan.reissig@bcxp.de::04f6559b-130f-4419-920a-0aaca92b7ea7" providerId="AD" clId="Web-{B0EFDF11-F69B-14B2-0AC3-0F8F69D4C566}"/>
    <pc:docChg chg="modSld">
      <pc:chgData name="Jonathan Reißig" userId="S::jonathan.reissig@bcxp.de::04f6559b-130f-4419-920a-0aaca92b7ea7" providerId="AD" clId="Web-{B0EFDF11-F69B-14B2-0AC3-0F8F69D4C566}" dt="2024-06-03T07:43:35.411" v="10" actId="20577"/>
      <pc:docMkLst>
        <pc:docMk/>
      </pc:docMkLst>
      <pc:sldChg chg="delSp modSp">
        <pc:chgData name="Jonathan Reißig" userId="S::jonathan.reissig@bcxp.de::04f6559b-130f-4419-920a-0aaca92b7ea7" providerId="AD" clId="Web-{B0EFDF11-F69B-14B2-0AC3-0F8F69D4C566}" dt="2024-06-03T07:43:35.411" v="10" actId="20577"/>
        <pc:sldMkLst>
          <pc:docMk/>
          <pc:sldMk cId="1689057455" sldId="363"/>
        </pc:sldMkLst>
        <pc:spChg chg="mod">
          <ac:chgData name="Jonathan Reißig" userId="S::jonathan.reissig@bcxp.de::04f6559b-130f-4419-920a-0aaca92b7ea7" providerId="AD" clId="Web-{B0EFDF11-F69B-14B2-0AC3-0F8F69D4C566}" dt="2024-06-03T07:43:35.411" v="10" actId="20577"/>
          <ac:spMkLst>
            <pc:docMk/>
            <pc:sldMk cId="1689057455" sldId="363"/>
            <ac:spMk id="3" creationId="{3300A462-3F2A-4D01-987B-36241D1EAEDE}"/>
          </ac:spMkLst>
        </pc:spChg>
        <pc:spChg chg="del">
          <ac:chgData name="Jonathan Reißig" userId="S::jonathan.reissig@bcxp.de::04f6559b-130f-4419-920a-0aaca92b7ea7" providerId="AD" clId="Web-{B0EFDF11-F69B-14B2-0AC3-0F8F69D4C566}" dt="2024-06-03T07:42:45.378" v="0"/>
          <ac:spMkLst>
            <pc:docMk/>
            <pc:sldMk cId="1689057455" sldId="363"/>
            <ac:spMk id="6" creationId="{E1C4C682-056C-494C-E1DB-7BACACD3118B}"/>
          </ac:spMkLst>
        </pc:spChg>
      </pc:sldChg>
    </pc:docChg>
  </pc:docChgLst>
  <pc:docChgLst>
    <pc:chgData name="Felix Grohme" userId="S::felix.grohme@bcxp.de::81682655-5dd0-46d7-8a6d-c0a799968b21" providerId="AD" clId="Web-{CAA3B71F-CEA2-5E1D-359A-96AF7EEF3002}"/>
    <pc:docChg chg="modSld">
      <pc:chgData name="Felix Grohme" userId="S::felix.grohme@bcxp.de::81682655-5dd0-46d7-8a6d-c0a799968b21" providerId="AD" clId="Web-{CAA3B71F-CEA2-5E1D-359A-96AF7EEF3002}" dt="2024-05-31T09:29:28.410" v="46"/>
      <pc:docMkLst>
        <pc:docMk/>
      </pc:docMkLst>
      <pc:sldChg chg="modSp">
        <pc:chgData name="Felix Grohme" userId="S::felix.grohme@bcxp.de::81682655-5dd0-46d7-8a6d-c0a799968b21" providerId="AD" clId="Web-{CAA3B71F-CEA2-5E1D-359A-96AF7EEF3002}" dt="2024-05-31T09:27:32.250" v="44"/>
        <pc:sldMkLst>
          <pc:docMk/>
          <pc:sldMk cId="1978077012" sldId="341"/>
        </pc:sldMkLst>
        <pc:picChg chg="mod modCrop">
          <ac:chgData name="Felix Grohme" userId="S::felix.grohme@bcxp.de::81682655-5dd0-46d7-8a6d-c0a799968b21" providerId="AD" clId="Web-{CAA3B71F-CEA2-5E1D-359A-96AF7EEF3002}" dt="2024-05-31T09:27:32.250" v="44"/>
          <ac:picMkLst>
            <pc:docMk/>
            <pc:sldMk cId="1978077012" sldId="341"/>
            <ac:picMk id="8" creationId="{557A138A-FF12-4422-1507-EA601D5A265D}"/>
          </ac:picMkLst>
        </pc:picChg>
      </pc:sldChg>
      <pc:sldChg chg="modSp">
        <pc:chgData name="Felix Grohme" userId="S::felix.grohme@bcxp.de::81682655-5dd0-46d7-8a6d-c0a799968b21" providerId="AD" clId="Web-{CAA3B71F-CEA2-5E1D-359A-96AF7EEF3002}" dt="2024-05-31T09:24:54.668" v="20" actId="20577"/>
        <pc:sldMkLst>
          <pc:docMk/>
          <pc:sldMk cId="1689057455" sldId="363"/>
        </pc:sldMkLst>
        <pc:spChg chg="mod">
          <ac:chgData name="Felix Grohme" userId="S::felix.grohme@bcxp.de::81682655-5dd0-46d7-8a6d-c0a799968b21" providerId="AD" clId="Web-{CAA3B71F-CEA2-5E1D-359A-96AF7EEF3002}" dt="2024-05-31T09:24:54.668" v="20" actId="20577"/>
          <ac:spMkLst>
            <pc:docMk/>
            <pc:sldMk cId="1689057455" sldId="363"/>
            <ac:spMk id="3" creationId="{3300A462-3F2A-4D01-987B-36241D1EAEDE}"/>
          </ac:spMkLst>
        </pc:spChg>
      </pc:sldChg>
      <pc:sldChg chg="addSp delSp modSp mod modClrScheme chgLayout">
        <pc:chgData name="Felix Grohme" userId="S::felix.grohme@bcxp.de::81682655-5dd0-46d7-8a6d-c0a799968b21" providerId="AD" clId="Web-{CAA3B71F-CEA2-5E1D-359A-96AF7EEF3002}" dt="2024-05-31T09:29:28.410" v="46"/>
        <pc:sldMkLst>
          <pc:docMk/>
          <pc:sldMk cId="2792681395" sldId="364"/>
        </pc:sldMkLst>
        <pc:spChg chg="del">
          <ac:chgData name="Felix Grohme" userId="S::felix.grohme@bcxp.de::81682655-5dd0-46d7-8a6d-c0a799968b21" providerId="AD" clId="Web-{CAA3B71F-CEA2-5E1D-359A-96AF7EEF3002}" dt="2024-05-31T09:23:25.430" v="0"/>
          <ac:spMkLst>
            <pc:docMk/>
            <pc:sldMk cId="2792681395" sldId="364"/>
            <ac:spMk id="2" creationId="{9B74E4FD-689A-48A5-9F54-9BF728F21EF6}"/>
          </ac:spMkLst>
        </pc:spChg>
        <pc:spChg chg="add del">
          <ac:chgData name="Felix Grohme" userId="S::felix.grohme@bcxp.de::81682655-5dd0-46d7-8a6d-c0a799968b21" providerId="AD" clId="Web-{CAA3B71F-CEA2-5E1D-359A-96AF7EEF3002}" dt="2024-05-31T09:24:19.635" v="8"/>
          <ac:spMkLst>
            <pc:docMk/>
            <pc:sldMk cId="2792681395" sldId="364"/>
            <ac:spMk id="3" creationId="{3300A462-3F2A-4D01-987B-36241D1EAEDE}"/>
          </ac:spMkLst>
        </pc:spChg>
        <pc:spChg chg="mod">
          <ac:chgData name="Felix Grohme" userId="S::felix.grohme@bcxp.de::81682655-5dd0-46d7-8a6d-c0a799968b21" providerId="AD" clId="Web-{CAA3B71F-CEA2-5E1D-359A-96AF7EEF3002}" dt="2024-05-31T09:25:27.372" v="38" actId="20577"/>
          <ac:spMkLst>
            <pc:docMk/>
            <pc:sldMk cId="2792681395" sldId="364"/>
            <ac:spMk id="4" creationId="{3D6CD97C-1AB0-4589-A28C-C4E245EE09DB}"/>
          </ac:spMkLst>
        </pc:spChg>
        <pc:spChg chg="add del mod">
          <ac:chgData name="Felix Grohme" userId="S::felix.grohme@bcxp.de::81682655-5dd0-46d7-8a6d-c0a799968b21" providerId="AD" clId="Web-{CAA3B71F-CEA2-5E1D-359A-96AF7EEF3002}" dt="2024-05-31T09:24:23.260" v="9"/>
          <ac:spMkLst>
            <pc:docMk/>
            <pc:sldMk cId="2792681395" sldId="364"/>
            <ac:spMk id="7" creationId="{3BA757DE-2E8C-F2BF-BFD1-82547355597D}"/>
          </ac:spMkLst>
        </pc:spChg>
        <pc:spChg chg="add del mod">
          <ac:chgData name="Felix Grohme" userId="S::felix.grohme@bcxp.de::81682655-5dd0-46d7-8a6d-c0a799968b21" providerId="AD" clId="Web-{CAA3B71F-CEA2-5E1D-359A-96AF7EEF3002}" dt="2024-05-31T09:24:13.510" v="6"/>
          <ac:spMkLst>
            <pc:docMk/>
            <pc:sldMk cId="2792681395" sldId="364"/>
            <ac:spMk id="10" creationId="{F945E455-0B6F-A55A-2E89-B4B0C87FDC7A}"/>
          </ac:spMkLst>
        </pc:spChg>
        <pc:spChg chg="add del mod">
          <ac:chgData name="Felix Grohme" userId="S::felix.grohme@bcxp.de::81682655-5dd0-46d7-8a6d-c0a799968b21" providerId="AD" clId="Web-{CAA3B71F-CEA2-5E1D-359A-96AF7EEF3002}" dt="2024-05-31T09:24:13.510" v="6"/>
          <ac:spMkLst>
            <pc:docMk/>
            <pc:sldMk cId="2792681395" sldId="364"/>
            <ac:spMk id="11" creationId="{E83B4E21-9E32-4B7B-A49D-A0F11C99E2E0}"/>
          </ac:spMkLst>
        </pc:spChg>
        <pc:spChg chg="add del mod">
          <ac:chgData name="Felix Grohme" userId="S::felix.grohme@bcxp.de::81682655-5dd0-46d7-8a6d-c0a799968b21" providerId="AD" clId="Web-{CAA3B71F-CEA2-5E1D-359A-96AF7EEF3002}" dt="2024-05-31T09:24:03.416" v="4"/>
          <ac:spMkLst>
            <pc:docMk/>
            <pc:sldMk cId="2792681395" sldId="364"/>
            <ac:spMk id="13" creationId="{9ED233E1-B1A2-B118-BA39-9939AB098192}"/>
          </ac:spMkLst>
        </pc:spChg>
        <pc:spChg chg="add del mod">
          <ac:chgData name="Felix Grohme" userId="S::felix.grohme@bcxp.de::81682655-5dd0-46d7-8a6d-c0a799968b21" providerId="AD" clId="Web-{CAA3B71F-CEA2-5E1D-359A-96AF7EEF3002}" dt="2024-05-31T09:24:19.635" v="8"/>
          <ac:spMkLst>
            <pc:docMk/>
            <pc:sldMk cId="2792681395" sldId="364"/>
            <ac:spMk id="14" creationId="{9F3D9A34-CAEB-6ABE-0F2D-E54D9A79093E}"/>
          </ac:spMkLst>
        </pc:spChg>
        <pc:spChg chg="add del mod">
          <ac:chgData name="Felix Grohme" userId="S::felix.grohme@bcxp.de::81682655-5dd0-46d7-8a6d-c0a799968b21" providerId="AD" clId="Web-{CAA3B71F-CEA2-5E1D-359A-96AF7EEF3002}" dt="2024-05-31T09:24:03.416" v="4"/>
          <ac:spMkLst>
            <pc:docMk/>
            <pc:sldMk cId="2792681395" sldId="364"/>
            <ac:spMk id="15" creationId="{9B63DBB6-A982-75DD-0CB5-82C252FCDB3A}"/>
          </ac:spMkLst>
        </pc:spChg>
        <pc:spChg chg="add del mod">
          <ac:chgData name="Felix Grohme" userId="S::felix.grohme@bcxp.de::81682655-5dd0-46d7-8a6d-c0a799968b21" providerId="AD" clId="Web-{CAA3B71F-CEA2-5E1D-359A-96AF7EEF3002}" dt="2024-05-31T09:24:19.635" v="8"/>
          <ac:spMkLst>
            <pc:docMk/>
            <pc:sldMk cId="2792681395" sldId="364"/>
            <ac:spMk id="16" creationId="{3300A462-3F2A-4D01-987B-36241D1EAEDE}"/>
          </ac:spMkLst>
        </pc:spChg>
        <pc:spChg chg="add del mod">
          <ac:chgData name="Felix Grohme" userId="S::felix.grohme@bcxp.de::81682655-5dd0-46d7-8a6d-c0a799968b21" providerId="AD" clId="Web-{CAA3B71F-CEA2-5E1D-359A-96AF7EEF3002}" dt="2024-05-31T09:24:19.635" v="8"/>
          <ac:spMkLst>
            <pc:docMk/>
            <pc:sldMk cId="2792681395" sldId="364"/>
            <ac:spMk id="17" creationId="{5B15617F-33CF-B3D0-3E07-5EE29DF2A05D}"/>
          </ac:spMkLst>
        </pc:spChg>
        <pc:spChg chg="add del mod">
          <ac:chgData name="Felix Grohme" userId="S::felix.grohme@bcxp.de::81682655-5dd0-46d7-8a6d-c0a799968b21" providerId="AD" clId="Web-{CAA3B71F-CEA2-5E1D-359A-96AF7EEF3002}" dt="2024-05-31T09:24:19.635" v="8"/>
          <ac:spMkLst>
            <pc:docMk/>
            <pc:sldMk cId="2792681395" sldId="364"/>
            <ac:spMk id="19" creationId="{C25FB9E5-6D2B-878C-D692-91842ECB952F}"/>
          </ac:spMkLst>
        </pc:spChg>
        <pc:spChg chg="add del mod">
          <ac:chgData name="Felix Grohme" userId="S::felix.grohme@bcxp.de::81682655-5dd0-46d7-8a6d-c0a799968b21" providerId="AD" clId="Web-{CAA3B71F-CEA2-5E1D-359A-96AF7EEF3002}" dt="2024-05-31T09:29:28.410" v="46"/>
          <ac:spMkLst>
            <pc:docMk/>
            <pc:sldMk cId="2792681395" sldId="364"/>
            <ac:spMk id="22" creationId="{B3114DDD-6869-C690-C3B3-E22EC6E87F48}"/>
          </ac:spMkLst>
        </pc:spChg>
        <pc:graphicFrameChg chg="add del">
          <ac:chgData name="Felix Grohme" userId="S::felix.grohme@bcxp.de::81682655-5dd0-46d7-8a6d-c0a799968b21" providerId="AD" clId="Web-{CAA3B71F-CEA2-5E1D-359A-96AF7EEF3002}" dt="2024-05-31T09:24:03.416" v="4"/>
          <ac:graphicFrameMkLst>
            <pc:docMk/>
            <pc:sldMk cId="2792681395" sldId="364"/>
            <ac:graphicFrameMk id="9" creationId="{CB9EE2F7-4F02-ED8F-F567-9FB28C657324}"/>
          </ac:graphicFrameMkLst>
        </pc:graphicFrameChg>
        <pc:graphicFrameChg chg="add del">
          <ac:chgData name="Felix Grohme" userId="S::felix.grohme@bcxp.de::81682655-5dd0-46d7-8a6d-c0a799968b21" providerId="AD" clId="Web-{CAA3B71F-CEA2-5E1D-359A-96AF7EEF3002}" dt="2024-05-31T09:24:13.510" v="6"/>
          <ac:graphicFrameMkLst>
            <pc:docMk/>
            <pc:sldMk cId="2792681395" sldId="364"/>
            <ac:graphicFrameMk id="12" creationId="{7E476F31-82C8-ECA6-D524-16DCFF2C86E9}"/>
          </ac:graphicFrameMkLst>
        </pc:graphicFrameChg>
        <pc:picChg chg="add del mod ord">
          <ac:chgData name="Felix Grohme" userId="S::felix.grohme@bcxp.de::81682655-5dd0-46d7-8a6d-c0a799968b21" providerId="AD" clId="Web-{CAA3B71F-CEA2-5E1D-359A-96AF7EEF3002}" dt="2024-05-31T09:23:38.259" v="2"/>
          <ac:picMkLst>
            <pc:docMk/>
            <pc:sldMk cId="2792681395" sldId="364"/>
            <ac:picMk id="5" creationId="{007CDF51-2295-039E-B203-659E5F1CE330}"/>
          </ac:picMkLst>
        </pc:picChg>
        <pc:picChg chg="add del">
          <ac:chgData name="Felix Grohme" userId="S::felix.grohme@bcxp.de::81682655-5dd0-46d7-8a6d-c0a799968b21" providerId="AD" clId="Web-{CAA3B71F-CEA2-5E1D-359A-96AF7EEF3002}" dt="2024-05-31T09:24:19.635" v="8"/>
          <ac:picMkLst>
            <pc:docMk/>
            <pc:sldMk cId="2792681395" sldId="364"/>
            <ac:picMk id="18" creationId="{D5ACD038-9A7A-658B-BA8E-A176ED41941E}"/>
          </ac:picMkLst>
        </pc:picChg>
        <pc:picChg chg="add del mod ord">
          <ac:chgData name="Felix Grohme" userId="S::felix.grohme@bcxp.de::81682655-5dd0-46d7-8a6d-c0a799968b21" providerId="AD" clId="Web-{CAA3B71F-CEA2-5E1D-359A-96AF7EEF3002}" dt="2024-05-31T09:29:23.347" v="45"/>
          <ac:picMkLst>
            <pc:docMk/>
            <pc:sldMk cId="2792681395" sldId="364"/>
            <ac:picMk id="20" creationId="{9B303FFE-2C38-813F-43AD-6FE7F172CFC9}"/>
          </ac:picMkLst>
        </pc:picChg>
        <pc:picChg chg="add mod ord">
          <ac:chgData name="Felix Grohme" userId="S::felix.grohme@bcxp.de::81682655-5dd0-46d7-8a6d-c0a799968b21" providerId="AD" clId="Web-{CAA3B71F-CEA2-5E1D-359A-96AF7EEF3002}" dt="2024-05-31T09:29:28.410" v="46"/>
          <ac:picMkLst>
            <pc:docMk/>
            <pc:sldMk cId="2792681395" sldId="364"/>
            <ac:picMk id="23" creationId="{20EE282B-93B1-2B20-418D-EF34EB73C9EF}"/>
          </ac:picMkLst>
        </pc:picChg>
      </pc:sldChg>
    </pc:docChg>
  </pc:docChgLst>
  <pc:docChgLst>
    <pc:chgData name="Mario Akermann" userId="d5c32010-21d9-481d-ac13-35b88d29fad1" providerId="ADAL" clId="{65E66A11-E134-F743-AD1A-E9050EC916E4}"/>
    <pc:docChg chg="undo custSel addSld modSld">
      <pc:chgData name="Mario Akermann" userId="d5c32010-21d9-481d-ac13-35b88d29fad1" providerId="ADAL" clId="{65E66A11-E134-F743-AD1A-E9050EC916E4}" dt="2024-06-03T07:53:13.571" v="175" actId="20577"/>
      <pc:docMkLst>
        <pc:docMk/>
      </pc:docMkLst>
      <pc:sldChg chg="addSp delSp modSp add mod modNotesTx">
        <pc:chgData name="Mario Akermann" userId="d5c32010-21d9-481d-ac13-35b88d29fad1" providerId="ADAL" clId="{65E66A11-E134-F743-AD1A-E9050EC916E4}" dt="2024-06-03T07:53:13.571" v="175" actId="20577"/>
        <pc:sldMkLst>
          <pc:docMk/>
          <pc:sldMk cId="1689057455" sldId="363"/>
        </pc:sldMkLst>
        <pc:spChg chg="mod">
          <ac:chgData name="Mario Akermann" userId="d5c32010-21d9-481d-ac13-35b88d29fad1" providerId="ADAL" clId="{65E66A11-E134-F743-AD1A-E9050EC916E4}" dt="2024-05-30T06:54:10.273" v="43" actId="20577"/>
          <ac:spMkLst>
            <pc:docMk/>
            <pc:sldMk cId="1689057455" sldId="363"/>
            <ac:spMk id="3" creationId="{3300A462-3F2A-4D01-987B-36241D1EAEDE}"/>
          </ac:spMkLst>
        </pc:spChg>
        <pc:spChg chg="mod">
          <ac:chgData name="Mario Akermann" userId="d5c32010-21d9-481d-ac13-35b88d29fad1" providerId="ADAL" clId="{65E66A11-E134-F743-AD1A-E9050EC916E4}" dt="2024-05-30T06:55:57.015" v="148" actId="20577"/>
          <ac:spMkLst>
            <pc:docMk/>
            <pc:sldMk cId="1689057455" sldId="363"/>
            <ac:spMk id="4" creationId="{3D6CD97C-1AB0-4589-A28C-C4E245EE09DB}"/>
          </ac:spMkLst>
        </pc:spChg>
        <pc:spChg chg="add mod">
          <ac:chgData name="Mario Akermann" userId="d5c32010-21d9-481d-ac13-35b88d29fad1" providerId="ADAL" clId="{65E66A11-E134-F743-AD1A-E9050EC916E4}" dt="2024-06-03T06:26:23.634" v="150"/>
          <ac:spMkLst>
            <pc:docMk/>
            <pc:sldMk cId="1689057455" sldId="363"/>
            <ac:spMk id="6" creationId="{E1C4C682-056C-494C-E1DB-7BACACD3118B}"/>
          </ac:spMkLst>
        </pc:spChg>
        <pc:spChg chg="add del mod">
          <ac:chgData name="Mario Akermann" userId="d5c32010-21d9-481d-ac13-35b88d29fad1" providerId="ADAL" clId="{65E66A11-E134-F743-AD1A-E9050EC916E4}" dt="2024-06-03T06:26:32.909" v="154"/>
          <ac:spMkLst>
            <pc:docMk/>
            <pc:sldMk cId="1689057455" sldId="363"/>
            <ac:spMk id="7" creationId="{037F0B83-A808-0D5C-324C-A963C2DBB2B0}"/>
          </ac:spMkLst>
        </pc:spChg>
        <pc:spChg chg="add">
          <ac:chgData name="Mario Akermann" userId="d5c32010-21d9-481d-ac13-35b88d29fad1" providerId="ADAL" clId="{65E66A11-E134-F743-AD1A-E9050EC916E4}" dt="2024-06-03T07:38:24.737" v="164" actId="22"/>
          <ac:spMkLst>
            <pc:docMk/>
            <pc:sldMk cId="1689057455" sldId="363"/>
            <ac:spMk id="7" creationId="{8BFD4EDE-76D7-6312-E763-EABAB0F159A1}"/>
          </ac:spMkLst>
        </pc:spChg>
        <pc:spChg chg="add del mod">
          <ac:chgData name="Mario Akermann" userId="d5c32010-21d9-481d-ac13-35b88d29fad1" providerId="ADAL" clId="{65E66A11-E134-F743-AD1A-E9050EC916E4}" dt="2024-06-03T06:26:45.260" v="163" actId="47"/>
          <ac:spMkLst>
            <pc:docMk/>
            <pc:sldMk cId="1689057455" sldId="363"/>
            <ac:spMk id="8" creationId="{CF377280-2653-BFE9-9A77-E13CA6D74661}"/>
          </ac:spMkLst>
        </pc:spChg>
        <pc:spChg chg="add del mod">
          <ac:chgData name="Mario Akermann" userId="d5c32010-21d9-481d-ac13-35b88d29fad1" providerId="ADAL" clId="{65E66A11-E134-F743-AD1A-E9050EC916E4}" dt="2024-06-03T07:39:38.955" v="170"/>
          <ac:spMkLst>
            <pc:docMk/>
            <pc:sldMk cId="1689057455" sldId="363"/>
            <ac:spMk id="9" creationId="{0624BDA0-2D8D-7FE8-19B3-83B61D6AB2E2}"/>
          </ac:spMkLst>
        </pc:spChg>
        <pc:spChg chg="add mod">
          <ac:chgData name="Mario Akermann" userId="d5c32010-21d9-481d-ac13-35b88d29fad1" providerId="ADAL" clId="{65E66A11-E134-F743-AD1A-E9050EC916E4}" dt="2024-06-03T06:26:39.629" v="158"/>
          <ac:spMkLst>
            <pc:docMk/>
            <pc:sldMk cId="1689057455" sldId="363"/>
            <ac:spMk id="9" creationId="{96ACA409-920C-8764-7569-B1A9F2842939}"/>
          </ac:spMkLst>
        </pc:spChg>
        <pc:spChg chg="add mod">
          <ac:chgData name="Mario Akermann" userId="d5c32010-21d9-481d-ac13-35b88d29fad1" providerId="ADAL" clId="{65E66A11-E134-F743-AD1A-E9050EC916E4}" dt="2024-06-03T06:26:43.852" v="162"/>
          <ac:spMkLst>
            <pc:docMk/>
            <pc:sldMk cId="1689057455" sldId="363"/>
            <ac:spMk id="10" creationId="{5C7BB648-1651-1D5C-CB02-F70821E5BDB2}"/>
          </ac:spMkLst>
        </pc:spChg>
        <pc:spChg chg="add del mod">
          <ac:chgData name="Mario Akermann" userId="d5c32010-21d9-481d-ac13-35b88d29fad1" providerId="ADAL" clId="{65E66A11-E134-F743-AD1A-E9050EC916E4}" dt="2024-06-03T07:40:00.907" v="174"/>
          <ac:spMkLst>
            <pc:docMk/>
            <pc:sldMk cId="1689057455" sldId="363"/>
            <ac:spMk id="10" creationId="{FD966C87-B944-78BE-AC1D-5BFE0A529E66}"/>
          </ac:spMkLst>
        </pc:spChg>
        <pc:spChg chg="add mod">
          <ac:chgData name="Mario Akermann" userId="d5c32010-21d9-481d-ac13-35b88d29fad1" providerId="ADAL" clId="{65E66A11-E134-F743-AD1A-E9050EC916E4}" dt="2024-06-03T06:26:42.558" v="161" actId="767"/>
          <ac:spMkLst>
            <pc:docMk/>
            <pc:sldMk cId="1689057455" sldId="363"/>
            <ac:spMk id="11" creationId="{246CCDB3-BBF5-3225-41BD-A1DDCE0C47B2}"/>
          </ac:spMkLst>
        </pc:spChg>
        <pc:picChg chg="del">
          <ac:chgData name="Mario Akermann" userId="d5c32010-21d9-481d-ac13-35b88d29fad1" providerId="ADAL" clId="{65E66A11-E134-F743-AD1A-E9050EC916E4}" dt="2024-05-30T06:53:03.210" v="2" actId="478"/>
          <ac:picMkLst>
            <pc:docMk/>
            <pc:sldMk cId="1689057455" sldId="363"/>
            <ac:picMk id="5" creationId="{1BE005D3-8BD6-4B14-8F8B-22C5D63832DF}"/>
          </ac:picMkLst>
        </pc:picChg>
        <pc:picChg chg="mod">
          <ac:chgData name="Mario Akermann" userId="d5c32010-21d9-481d-ac13-35b88d29fad1" providerId="ADAL" clId="{65E66A11-E134-F743-AD1A-E9050EC916E4}" dt="2024-06-03T07:38:30.148" v="166" actId="1076"/>
          <ac:picMkLst>
            <pc:docMk/>
            <pc:sldMk cId="1689057455" sldId="363"/>
            <ac:picMk id="5" creationId="{F79B5827-C82E-F0C5-871D-79F3AE7B7927}"/>
          </ac:picMkLst>
        </pc:picChg>
        <pc:picChg chg="del">
          <ac:chgData name="Mario Akermann" userId="d5c32010-21d9-481d-ac13-35b88d29fad1" providerId="ADAL" clId="{65E66A11-E134-F743-AD1A-E9050EC916E4}" dt="2024-05-30T06:53:00.240" v="1" actId="478"/>
          <ac:picMkLst>
            <pc:docMk/>
            <pc:sldMk cId="1689057455" sldId="363"/>
            <ac:picMk id="8" creationId="{557A138A-FF12-4422-1507-EA601D5A265D}"/>
          </ac:picMkLst>
        </pc:picChg>
      </pc:sldChg>
      <pc:sldChg chg="modSp add mod">
        <pc:chgData name="Mario Akermann" userId="d5c32010-21d9-481d-ac13-35b88d29fad1" providerId="ADAL" clId="{65E66A11-E134-F743-AD1A-E9050EC916E4}" dt="2024-05-30T06:55:44.706" v="133" actId="20577"/>
        <pc:sldMkLst>
          <pc:docMk/>
          <pc:sldMk cId="2792681395" sldId="364"/>
        </pc:sldMkLst>
        <pc:spChg chg="mod">
          <ac:chgData name="Mario Akermann" userId="d5c32010-21d9-481d-ac13-35b88d29fad1" providerId="ADAL" clId="{65E66A11-E134-F743-AD1A-E9050EC916E4}" dt="2024-05-30T06:54:42.365" v="55" actId="20577"/>
          <ac:spMkLst>
            <pc:docMk/>
            <pc:sldMk cId="2792681395" sldId="364"/>
            <ac:spMk id="3" creationId="{3300A462-3F2A-4D01-987B-36241D1EAEDE}"/>
          </ac:spMkLst>
        </pc:spChg>
        <pc:spChg chg="mod">
          <ac:chgData name="Mario Akermann" userId="d5c32010-21d9-481d-ac13-35b88d29fad1" providerId="ADAL" clId="{65E66A11-E134-F743-AD1A-E9050EC916E4}" dt="2024-05-30T06:55:44.706" v="133" actId="20577"/>
          <ac:spMkLst>
            <pc:docMk/>
            <pc:sldMk cId="2792681395" sldId="364"/>
            <ac:spMk id="4" creationId="{3D6CD97C-1AB0-4589-A28C-C4E245EE09D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Tabelle1 (2)'!$B$1</c:f>
              <c:strCache>
                <c:ptCount val="1"/>
                <c:pt idx="0">
                  <c:v>Anzahl Mitarbeitende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numRef>
              <c:f>'Tabelle1 (2)'!$A$2:$A$12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'Tabelle1 (2)'!$B$2:$B$12</c:f>
              <c:numCache>
                <c:formatCode>General</c:formatCode>
                <c:ptCount val="11"/>
                <c:pt idx="0">
                  <c:v>5</c:v>
                </c:pt>
                <c:pt idx="1">
                  <c:v>17</c:v>
                </c:pt>
                <c:pt idx="2">
                  <c:v>27</c:v>
                </c:pt>
                <c:pt idx="3">
                  <c:v>39</c:v>
                </c:pt>
                <c:pt idx="4">
                  <c:v>47</c:v>
                </c:pt>
                <c:pt idx="5">
                  <c:v>56</c:v>
                </c:pt>
                <c:pt idx="6">
                  <c:v>70</c:v>
                </c:pt>
                <c:pt idx="7">
                  <c:v>78</c:v>
                </c:pt>
                <c:pt idx="8">
                  <c:v>84</c:v>
                </c:pt>
                <c:pt idx="9">
                  <c:v>87</c:v>
                </c:pt>
                <c:pt idx="10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8F-43A4-A143-A59B5AF08C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6"/>
        <c:overlap val="49"/>
        <c:axId val="1588886399"/>
        <c:axId val="1316254543"/>
      </c:barChart>
      <c:catAx>
        <c:axId val="1588886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en-US"/>
          </a:p>
        </c:txPr>
        <c:crossAx val="1316254543"/>
        <c:crosses val="autoZero"/>
        <c:auto val="1"/>
        <c:lblAlgn val="ctr"/>
        <c:lblOffset val="100"/>
        <c:tickLblSkip val="2"/>
        <c:noMultiLvlLbl val="0"/>
      </c:catAx>
      <c:valAx>
        <c:axId val="131625454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88886399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E863156-0E27-4851-88E7-15196369BF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6830815-6314-43D2-A9A8-37BD2C51A84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B0ADFE-0630-43FC-B4B5-18F82FA4A002}" type="datetimeFigureOut">
              <a:rPr lang="de-DE" smtClean="0"/>
              <a:t>23.03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905A1A-D8BD-4462-AEF7-3745E34495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B59A41-62D4-4340-9816-1FEBBA1F32C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110E88-3C0E-4852-9AF8-8BBF457D031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53397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6A6109-E199-4E80-AA68-BA2822B2DFF7}" type="datetimeFigureOut">
              <a:rPr lang="en-US" smtClean="0"/>
              <a:t>3/23/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04F81A-B89E-429F-A253-B04D7B269C8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391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Diese und die folgenden 3 Folien sind eine Alternative zu der Folie danach, auf der Beratung, Komplexe Software und </a:t>
            </a:r>
            <a:r>
              <a:rPr lang="de-DE" err="1"/>
              <a:t>Artificial</a:t>
            </a:r>
            <a:r>
              <a:rPr lang="de-DE"/>
              <a:t> </a:t>
            </a:r>
            <a:r>
              <a:rPr lang="de-DE" err="1"/>
              <a:t>Intelligence</a:t>
            </a:r>
            <a:r>
              <a:rPr lang="de-DE"/>
              <a:t> gesamthaft dargestellt sind </a:t>
            </a:r>
            <a:r>
              <a:rPr lang="de-DE">
                <a:sym typeface="Wingdings" panose="05000000000000000000" pitchFamily="2" charset="2"/>
              </a:rPr>
              <a:t> </a:t>
            </a:r>
            <a:r>
              <a:rPr lang="de-DE"/>
              <a:t>NUR die 4 ausführlichen Folien ODER NUR die Sammelfoli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F61EEB-3B5D-489F-A04A-4DE7D7C106DF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69349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Daimler: FLAM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5834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4F81A-B89E-429F-A253-B04D7B269C8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695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r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77DE12B-510D-4595-9611-E578ADE850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97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77DE12B-510D-4595-9611-E578ADE85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3E303C22-4A8F-40EB-8D53-C0EDBF3D944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589" y="1920340"/>
            <a:ext cx="10066821" cy="107936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20B0D73-6875-46DD-96BD-F1B688448D09}"/>
              </a:ext>
            </a:extLst>
          </p:cNvPr>
          <p:cNvSpPr txBox="1"/>
          <p:nvPr userDrawn="1"/>
        </p:nvSpPr>
        <p:spPr>
          <a:xfrm>
            <a:off x="1062589" y="4790808"/>
            <a:ext cx="40218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0" kern="1200" cap="all" baseline="0" noProof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WENN AUS TECHNIK FREUNDSCHAFT WIRD</a:t>
            </a:r>
            <a:endParaRPr lang="de-DE" sz="1400" b="0" kern="1200" cap="all" baseline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A37B149-4E96-497E-9BF6-4E7580049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062589" y="3318621"/>
            <a:ext cx="10066821" cy="1079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905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1-spaltig +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9BCB59C7-0A3C-47DE-91D1-99578ED0DF9D}"/>
              </a:ext>
            </a:extLst>
          </p:cNvPr>
          <p:cNvSpPr/>
          <p:nvPr userDrawn="1"/>
        </p:nvSpPr>
        <p:spPr>
          <a:xfrm>
            <a:off x="0" y="6015600"/>
            <a:ext cx="11422800" cy="4608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00" y="1435199"/>
            <a:ext cx="10656000" cy="4196719"/>
          </a:xfrm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36DA5A-064C-4725-B847-21EDE6817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6015919"/>
            <a:ext cx="11424000" cy="460800"/>
          </a:xfrm>
          <a:noFill/>
        </p:spPr>
        <p:txBody>
          <a:bodyPr lIns="792000" rIns="180000" anchor="ctr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996D5677-1665-4726-8745-3090AFADBE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3A69E66C-CFA3-4397-BD2C-D8CB2EA064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23B232D-94A9-45BA-BF25-6FC22DB152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746" y="6109200"/>
            <a:ext cx="299756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261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klein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497" y="1435100"/>
            <a:ext cx="6280504" cy="50352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FC33F02-EE23-484A-B860-42A21899D2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55C9A63-1B02-4DD6-A618-8D8CEFB2F6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9F2B135F-B55C-4A14-B94A-854ED67A28F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800" y="1436399"/>
            <a:ext cx="3567600" cy="5040000"/>
          </a:xfrm>
          <a:noFill/>
          <a:ln w="19050">
            <a:noFill/>
          </a:ln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8303103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61460CD6-1A9D-4761-A542-CC2B8B7C73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800" y="1436400"/>
            <a:ext cx="10663200" cy="5043600"/>
          </a:xfrm>
          <a:noFill/>
          <a:ln w="19050">
            <a:noFill/>
          </a:ln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0432451-7873-4713-A8B5-A716C8B5C442}"/>
              </a:ext>
            </a:extLst>
          </p:cNvPr>
          <p:cNvSpPr>
            <a:spLocks noGrp="1" noChangeAspect="1"/>
          </p:cNvSpPr>
          <p:nvPr>
            <p:ph type="subTitle" idx="14" hasCustomPrompt="1"/>
          </p:nvPr>
        </p:nvSpPr>
        <p:spPr>
          <a:xfrm>
            <a:off x="1344000" y="4518000"/>
            <a:ext cx="2340000" cy="2340000"/>
          </a:xfrm>
          <a:solidFill>
            <a:srgbClr val="CF0027"/>
          </a:solidFill>
        </p:spPr>
        <p:txBody>
          <a:bodyPr lIns="180000" tIns="108000" rIns="180000"/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2pPr>
            <a:lvl3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3pPr>
            <a:lvl4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4pPr>
            <a:lvl5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5pPr>
            <a:lvl6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6pPr>
            <a:lvl7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7pPr>
            <a:lvl8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8pPr>
            <a:lvl9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7F002CA-FE7A-4491-92CA-72F5FD820C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F85B7A-F34D-4F17-ACA8-EEF35BD61A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919721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flächiges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61460CD6-1A9D-4761-A542-CC2B8B7C73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  <a:ln w="19050">
            <a:noFill/>
          </a:ln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7126FE0-81BF-4F7C-BA01-067157BFE4D4}"/>
              </a:ext>
            </a:extLst>
          </p:cNvPr>
          <p:cNvSpPr>
            <a:spLocks noGrp="1" noChangeAspect="1"/>
          </p:cNvSpPr>
          <p:nvPr>
            <p:ph type="subTitle" idx="14" hasCustomPrompt="1"/>
          </p:nvPr>
        </p:nvSpPr>
        <p:spPr>
          <a:xfrm>
            <a:off x="1344000" y="4518000"/>
            <a:ext cx="2340000" cy="2340000"/>
          </a:xfrm>
          <a:solidFill>
            <a:srgbClr val="CF0027"/>
          </a:solidFill>
        </p:spPr>
        <p:txBody>
          <a:bodyPr lIns="180000" tIns="108000" rIns="180000"/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2pPr>
            <a:lvl3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3pPr>
            <a:lvl4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4pPr>
            <a:lvl5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5pPr>
            <a:lvl6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6pPr>
            <a:lvl7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7pPr>
            <a:lvl8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8pPr>
            <a:lvl9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35892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A2FB1F-2A79-4157-BE06-0069241BDC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D25777-B006-4435-94A0-D8D95DF019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7101034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D2FCC3E5-F7C9-48C7-916E-B892C79081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72543" y="1435371"/>
            <a:ext cx="168000" cy="4981819"/>
          </a:xfrm>
        </p:spPr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6" name="Foliennummernplatzhalter 3">
            <a:extLst>
              <a:ext uri="{FF2B5EF4-FFF2-40B4-BE49-F238E27FC236}">
                <a16:creationId xmlns:a16="http://schemas.microsoft.com/office/drawing/2014/main" id="{DBA81FFB-99B9-490D-A8C6-5AF5D96134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87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6509011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links - ro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9658A0C-A6BA-42CA-953D-D5FC6D5CA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8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9658A0C-A6BA-42CA-953D-D5FC6D5CA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27456A7D-E3C9-4579-BE24-8BCB816FCFCA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BDCD28-8E0E-41D6-A408-CB4DBE0D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FB098-C867-4840-AD8F-533810DAA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80592DBF-7212-44CD-BB25-555CD26D83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Text</a:t>
            </a:r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E1F67941-2A6A-43AC-AE1E-AB8851302C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ext</a:t>
            </a:r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E683A82E-717E-4E84-82CE-83C81750D5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1653132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ro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1E9A899-4C37-4B3C-8E4C-E898C611A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502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1E9A899-4C37-4B3C-8E4C-E898C611A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234BD2C6-7EC0-401A-B5AB-873AA7F3DE62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DDE1B922-5DD3-4E74-B6B5-D79BB1B46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Text</a:t>
            </a:r>
            <a:endParaRPr lang="de-DE"/>
          </a:p>
        </p:txBody>
      </p:sp>
      <p:sp>
        <p:nvSpPr>
          <p:cNvPr id="16" name="Textplatzhalter 16">
            <a:extLst>
              <a:ext uri="{FF2B5EF4-FFF2-40B4-BE49-F238E27FC236}">
                <a16:creationId xmlns:a16="http://schemas.microsoft.com/office/drawing/2014/main" id="{D6EC04CD-2E98-4564-BD2C-1566AE4329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ex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76D4ADB-FF5C-4DB8-A3F5-7056B9C566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0C80FB8-7E58-4826-99D5-2C80F69F42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</p:spPr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BE50E86-8B22-42E2-9E27-17D987CD252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41703412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Bild links - schwarz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>
            <a:extLst>
              <a:ext uri="{FF2B5EF4-FFF2-40B4-BE49-F238E27FC236}">
                <a16:creationId xmlns:a16="http://schemas.microsoft.com/office/drawing/2014/main" id="{EEE95D89-C8F6-49CE-9A77-06E28B6F570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2EDEAA2-10A3-47AB-9860-FC8E78F0C5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72A4DC-C175-40AC-A889-767C90F635F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7E8BD2F-E95A-4B69-BF3A-0E363A7263FB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833F195C-11F4-4AEB-A094-665029D30C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Text</a:t>
            </a:r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31561933-C8F1-4898-B7C8-6AB984BC56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ext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FA088D6A-647C-48B5-986B-278C96963B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1778486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schwarz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1E9A899-4C37-4B3C-8E4C-E898C611A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502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1E9A899-4C37-4B3C-8E4C-E898C611A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234BD2C6-7EC0-401A-B5AB-873AA7F3DE62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DDE1B922-5DD3-4E74-B6B5-D79BB1B46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Text</a:t>
            </a:r>
            <a:endParaRPr lang="de-DE"/>
          </a:p>
        </p:txBody>
      </p:sp>
      <p:sp>
        <p:nvSpPr>
          <p:cNvPr id="16" name="Textplatzhalter 16">
            <a:extLst>
              <a:ext uri="{FF2B5EF4-FFF2-40B4-BE49-F238E27FC236}">
                <a16:creationId xmlns:a16="http://schemas.microsoft.com/office/drawing/2014/main" id="{D6EC04CD-2E98-4564-BD2C-1566AE4329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ex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76D4ADB-FF5C-4DB8-A3F5-7056B9C566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0C80FB8-7E58-4826-99D5-2C80F69F42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</p:spPr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BE50E86-8B22-42E2-9E27-17D987CD252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00183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77DE12B-510D-4595-9611-E578ADE850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67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77DE12B-510D-4595-9611-E578ADE85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169946DF-E0E4-45FA-846E-3516BF488D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000" y="1885958"/>
            <a:ext cx="10152000" cy="108846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54F8F610-F487-40C4-BC9D-10C86543A6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032000" y="3363638"/>
            <a:ext cx="10152000" cy="108846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20B0D73-6875-46DD-96BD-F1B688448D09}"/>
              </a:ext>
            </a:extLst>
          </p:cNvPr>
          <p:cNvSpPr txBox="1"/>
          <p:nvPr userDrawn="1"/>
        </p:nvSpPr>
        <p:spPr>
          <a:xfrm>
            <a:off x="985820" y="4883172"/>
            <a:ext cx="40218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0" kern="1200" cap="all" baseline="0" noProof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WENN AUS TECHNIK FREUNDSCHAFT WIRD</a:t>
            </a:r>
            <a:endParaRPr lang="de-DE" sz="1400" b="0" kern="1200" cap="all" baseline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3821529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links - weiß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BDCD28-8E0E-41D6-A408-CB4DBE0D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FB098-C867-4840-AD8F-533810DAA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5486FBF-1668-470E-886F-7007393EE53C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5945D37B-A971-4EEA-8EA0-FC136A9398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Text</a:t>
            </a:r>
            <a:endParaRPr lang="de-DE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3C4B6533-F956-4079-A2E1-4B3BB528B5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rgbClr val="EA0029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ext</a:t>
            </a:r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37A32FF1-CE0E-4FAE-A37E-3D84958811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990651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weiß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8F130A60-EFEC-4350-84D7-65D4E4F1CD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Öffentlich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D1E8D867-8C9A-42BE-B822-534F5876FC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F1ECC909-420A-4656-AB30-229C210B80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Text</a:t>
            </a:r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rgbClr val="EA0029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ext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405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links - rot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BDCD28-8E0E-41D6-A408-CB4DBE0D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Öffentlich, Intern, Vertraulich, Streng vertrau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FB098-C867-4840-AD8F-533810DAA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5486FBF-1668-470E-886F-7007393EE53C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5945D37B-A971-4EEA-8EA0-FC136A9398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Text</a:t>
            </a:r>
            <a:endParaRPr lang="de-DE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3C4B6533-F956-4079-A2E1-4B3BB528B5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ext</a:t>
            </a:r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37A32FF1-CE0E-4FAE-A37E-3D84958811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295297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rot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8F130A60-EFEC-4350-84D7-65D4E4F1CD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Öffentlich, Intern, Vertraulich, Streng vertraulich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D1E8D867-8C9A-42BE-B822-534F5876FC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F1ECC909-420A-4656-AB30-229C210B80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Text</a:t>
            </a:r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ext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162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3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DC576D8-4CCD-47AF-B01D-1A4F4C0B6A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654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DC576D8-4CCD-47AF-B01D-1A4F4C0B6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999" y="345600"/>
            <a:ext cx="6578831" cy="672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48001" y="1435101"/>
            <a:ext cx="6578831" cy="50419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BB02B2D4-EDED-4EBA-A037-2A60138496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080000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2EFC17-299E-48B8-A427-04E56E5465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C8D08B-7D91-4E2F-8D19-AB173B6698B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42092457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3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374D5E61-6B90-446B-96C3-4612853F6B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12905" y="0"/>
            <a:ext cx="4080000" cy="6858000"/>
          </a:xfrm>
          <a:noFill/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9F041E5-830E-4DA5-8BC2-3F1A0F6B407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68001" y="1435101"/>
            <a:ext cx="6576905" cy="50401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C835318-1038-48F9-A3AE-1407B519F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999" y="345600"/>
            <a:ext cx="6576000" cy="67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CED952-0414-4B39-BD89-0B466518FC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0400" y="1435371"/>
            <a:ext cx="168000" cy="4981819"/>
          </a:xfrm>
        </p:spPr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3B6590-8652-4681-86B5-FF4670434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5626756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2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99E84DF-34AB-4811-8B65-2F1C262953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0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99E84DF-34AB-4811-8B65-2F1C26295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5453" y="345600"/>
            <a:ext cx="4961377" cy="672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65454" y="1435101"/>
            <a:ext cx="4961377" cy="50419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BB02B2D4-EDED-4EBA-A037-2A60138496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2EFC17-299E-48B8-A427-04E56E5465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C8D08B-7D91-4E2F-8D19-AB173B6698B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791085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2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6601F67-B9E8-44CE-8BF2-5ABE5725A5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808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6601F67-B9E8-44CE-8BF2-5ABE5725A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374D5E61-6B90-446B-96C3-4612853F6B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905" cy="6858000"/>
          </a:xfrm>
          <a:noFill/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9F041E5-830E-4DA5-8BC2-3F1A0F6B407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68001" y="1435101"/>
            <a:ext cx="4977017" cy="50401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C835318-1038-48F9-A3AE-1407B519F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999" y="345600"/>
            <a:ext cx="4976332" cy="672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CED952-0414-4B39-BD89-0B466518FC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0400" y="1435371"/>
            <a:ext cx="168000" cy="4981819"/>
          </a:xfrm>
        </p:spPr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3B6590-8652-4681-86B5-FF4670434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1180572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z - 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2199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8086725" cy="6857999"/>
          </a:xfrm>
          <a:noFill/>
        </p:spPr>
        <p:txBody>
          <a:bodyPr bIns="72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C333949-C356-44C1-ABDC-A0C9DAE647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999" y="844077"/>
            <a:ext cx="7318726" cy="1969770"/>
          </a:xfrm>
          <a:noFill/>
        </p:spPr>
        <p:txBody>
          <a:bodyPr vert="horz" wrap="square" anchor="t">
            <a:spAutoFit/>
          </a:bodyPr>
          <a:lstStyle>
            <a:lvl1pPr>
              <a:defRPr sz="64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Wenn aus</a:t>
            </a:r>
            <a:br>
              <a:rPr lang="de-DE"/>
            </a:br>
            <a:r>
              <a:rPr lang="de-DE"/>
              <a:t>xxx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6DA2027C-3E5D-4FA4-9E48-34D3F38757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765" y="1028701"/>
            <a:ext cx="2793706" cy="31242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sz="1400" noProof="0" dirty="0">
                <a:solidFill>
                  <a:schemeClr val="tx1"/>
                </a:solidFill>
              </a:defRPr>
            </a:lvl1pPr>
            <a:lvl2pPr>
              <a:defRPr lang="de-DE" sz="1200" noProof="0" dirty="0"/>
            </a:lvl2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e-DE" noProof="0"/>
              <a:t>Mastertextformat bearbeite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noProof="0"/>
              <a:t>Zweite Eben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de-DE" noProof="0"/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468C93E7-A23E-4F58-A115-EDE41DA8E4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358063" y="4584715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/>
              <a:t>Kunden-Logo</a:t>
            </a:r>
            <a:br>
              <a:rPr lang="de-DE"/>
            </a:br>
            <a:r>
              <a:rPr lang="de-DE"/>
              <a:t>(optional)</a:t>
            </a:r>
          </a:p>
          <a:p>
            <a:pPr lvl="0"/>
            <a:br>
              <a:rPr lang="de-DE"/>
            </a:br>
            <a:br>
              <a:rPr lang="de-DE"/>
            </a:b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8522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z - Mitt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312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9">
            <a:extLst>
              <a:ext uri="{FF2B5EF4-FFF2-40B4-BE49-F238E27FC236}">
                <a16:creationId xmlns:a16="http://schemas.microsoft.com/office/drawing/2014/main" id="{9F41F52B-5329-47FF-AD72-4691D02D57E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90975" y="0"/>
            <a:ext cx="4099526" cy="6858000"/>
          </a:xfrm>
          <a:noFill/>
        </p:spPr>
        <p:txBody>
          <a:bodyPr bIns="72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8" name="Titel 5">
            <a:extLst>
              <a:ext uri="{FF2B5EF4-FFF2-40B4-BE49-F238E27FC236}">
                <a16:creationId xmlns:a16="http://schemas.microsoft.com/office/drawing/2014/main" id="{FAC85235-891C-4166-85BD-0A612CCE6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844077"/>
            <a:ext cx="7322501" cy="1969770"/>
          </a:xfrm>
          <a:noFill/>
        </p:spPr>
        <p:txBody>
          <a:bodyPr vert="horz" wrap="square" anchor="t">
            <a:spAutoFit/>
          </a:bodyPr>
          <a:lstStyle>
            <a:lvl1pPr>
              <a:defRPr sz="64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Wenn aus</a:t>
            </a:r>
            <a:br>
              <a:rPr lang="de-DE"/>
            </a:br>
            <a:r>
              <a:rPr lang="de-DE"/>
              <a:t>xxx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45B7A17-0CDC-4BEA-8CA4-7E787D0D7B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765" y="1028701"/>
            <a:ext cx="2793706" cy="31242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sz="1400" noProof="0" dirty="0">
                <a:solidFill>
                  <a:schemeClr val="tx1"/>
                </a:solidFill>
              </a:defRPr>
            </a:lvl1pPr>
            <a:lvl2pPr>
              <a:defRPr lang="de-DE" sz="1200" noProof="0" dirty="0"/>
            </a:lvl2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e-DE" noProof="0"/>
              <a:t>Mastertextformat bearbeite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noProof="0"/>
              <a:t>Zweite Eben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de-DE" noProof="0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3E636B04-B5F7-4D65-A574-357F722D188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358063" y="4584715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/>
              <a:t>Kunden-Logo</a:t>
            </a:r>
            <a:br>
              <a:rPr lang="de-DE"/>
            </a:br>
            <a:r>
              <a:rPr lang="de-DE"/>
              <a:t>(optional)</a:t>
            </a:r>
          </a:p>
          <a:p>
            <a:pPr lvl="0"/>
            <a:br>
              <a:rPr lang="de-DE"/>
            </a:br>
            <a:br>
              <a:rPr lang="de-DE"/>
            </a:b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6422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weiß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766D91-CD11-42DD-9582-D4D66CB89B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294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766D91-CD11-42DD-9582-D4D66CB89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B4EB333C-A679-42FE-83AB-921D8142E2B9}"/>
              </a:ext>
            </a:extLst>
          </p:cNvPr>
          <p:cNvSpPr>
            <a:spLocks noChangeAspect="1"/>
          </p:cNvSpPr>
          <p:nvPr userDrawn="1"/>
        </p:nvSpPr>
        <p:spPr>
          <a:xfrm>
            <a:off x="766197" y="1439827"/>
            <a:ext cx="4560000" cy="45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E0CFEC-BEF2-41CC-8BA2-5D4C57A90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092" y="1435199"/>
            <a:ext cx="168000" cy="4982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Öffentl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65006A1-127E-453A-8AC2-3BF9BD36D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5" y="6475200"/>
            <a:ext cx="168000" cy="38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noProof="0" smtClean="0"/>
              <a:pPr/>
              <a:t>‹Nr.›</a:t>
            </a:fld>
            <a:r>
              <a:rPr lang="de-DE" noProof="0"/>
              <a:t> |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805C94E-8FD3-4A42-B8F7-FB1915A89F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001DC86-E6E4-4427-8392-F89C34D8F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97" y="568864"/>
            <a:ext cx="4560000" cy="488921"/>
          </a:xfrm>
          <a:prstGeom prst="rect">
            <a:avLst/>
          </a:prstGeom>
        </p:spPr>
      </p:pic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832EF458-16A7-4750-AA26-68B366DF5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6896" y="5323729"/>
            <a:ext cx="2640000" cy="384000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2EE98A-1738-4726-AF74-B647708F57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948499" y="4809600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/>
              <a:t>Kunden-Logo</a:t>
            </a:r>
            <a:br>
              <a:rPr lang="de-DE"/>
            </a:br>
            <a:r>
              <a:rPr lang="de-DE"/>
              <a:t>(optional)</a:t>
            </a:r>
          </a:p>
          <a:p>
            <a:pPr lvl="0"/>
            <a:br>
              <a:rPr lang="de-DE"/>
            </a:br>
            <a:br>
              <a:rPr lang="de-DE"/>
            </a:br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70D165E1-57FE-4378-8381-0D6847A19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6896" y="2805777"/>
            <a:ext cx="3975204" cy="583967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Zweite Ebene</a:t>
            </a:r>
            <a:endParaRPr lang="de-DE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A5B7E1AA-D192-42E4-AF10-25EBDEC3DC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46896" y="1738802"/>
            <a:ext cx="3975204" cy="899999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400" b="1" cap="all" baseline="0">
                <a:solidFill>
                  <a:schemeClr val="tx2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786779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z - Bild links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90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9">
            <a:extLst>
              <a:ext uri="{FF2B5EF4-FFF2-40B4-BE49-F238E27FC236}">
                <a16:creationId xmlns:a16="http://schemas.microsoft.com/office/drawing/2014/main" id="{BC8B63E5-6468-4D17-AEE7-8FDF77D61BF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818000"/>
            <a:ext cx="8086725" cy="5040000"/>
          </a:xfrm>
          <a:noFill/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C333949-C356-44C1-ABDC-A0C9DAE647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323674"/>
            <a:ext cx="7318725" cy="1969770"/>
          </a:xfrm>
          <a:noFill/>
        </p:spPr>
        <p:txBody>
          <a:bodyPr vert="horz" wrap="square" anchor="t">
            <a:spAutoFit/>
          </a:bodyPr>
          <a:lstStyle>
            <a:lvl1pPr>
              <a:defRPr sz="64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Wenn aus</a:t>
            </a:r>
            <a:br>
              <a:rPr lang="de-DE"/>
            </a:br>
            <a:r>
              <a:rPr lang="de-DE"/>
              <a:t>xxx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4F89B5F0-C924-45EC-88E6-3D4D385EE6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765" y="1028701"/>
            <a:ext cx="2793706" cy="31242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sz="1400" noProof="0" dirty="0">
                <a:solidFill>
                  <a:schemeClr val="tx1"/>
                </a:solidFill>
              </a:defRPr>
            </a:lvl1pPr>
            <a:lvl2pPr>
              <a:defRPr lang="de-DE" sz="1200" noProof="0" dirty="0"/>
            </a:lvl2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e-DE" noProof="0"/>
              <a:t>Mastertextformat bearbeite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noProof="0"/>
              <a:t>Zweite Eben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de-DE" noProof="0"/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1F472E04-D23E-4EB7-8E05-839F057ACEC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358063" y="4584715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/>
              <a:t>Kunden-Logo</a:t>
            </a:r>
            <a:br>
              <a:rPr lang="de-DE"/>
            </a:br>
            <a:r>
              <a:rPr lang="de-DE"/>
              <a:t>(optional)</a:t>
            </a:r>
          </a:p>
          <a:p>
            <a:pPr lvl="0"/>
            <a:br>
              <a:rPr lang="de-DE"/>
            </a:br>
            <a:br>
              <a:rPr lang="de-DE"/>
            </a:b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619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t -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Vorname</a:t>
            </a:r>
            <a:br>
              <a:rPr lang="de-DE" noProof="0"/>
            </a:br>
            <a:r>
              <a:rPr lang="de-DE" noProof="0"/>
              <a:t>Nachname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&lt;Position&gt;</a:t>
            </a:r>
          </a:p>
          <a:p>
            <a:pPr lvl="0"/>
            <a:r>
              <a:rPr lang="de-DE" noProof="0"/>
              <a:t>Tel.: &lt;Handynummer&gt;</a:t>
            </a:r>
          </a:p>
          <a:p>
            <a:pPr lvl="0"/>
            <a:r>
              <a:rPr lang="de-DE" noProof="0"/>
              <a:t>&lt;email-Adresse&gt;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5013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t -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6882472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5470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Vorname</a:t>
            </a:r>
            <a:br>
              <a:rPr lang="de-DE" noProof="0"/>
            </a:br>
            <a:r>
              <a:rPr lang="de-DE" noProof="0"/>
              <a:t>Nachname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75470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Personenangab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9036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o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630373B-F9F0-4DF0-B51C-C0DA99D9AC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868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630373B-F9F0-4DF0-B51C-C0DA99D9AC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B3A9D8B-8DB9-4FDA-A986-F21F95AB1E2B}"/>
              </a:ext>
            </a:extLst>
          </p:cNvPr>
          <p:cNvGrpSpPr/>
          <p:nvPr userDrawn="1"/>
        </p:nvGrpSpPr>
        <p:grpSpPr>
          <a:xfrm>
            <a:off x="0" y="1"/>
            <a:ext cx="12192000" cy="6858001"/>
            <a:chOff x="-178916" y="-1"/>
            <a:chExt cx="7567629" cy="5143501"/>
          </a:xfrm>
        </p:grpSpPr>
        <p:sp>
          <p:nvSpPr>
            <p:cNvPr id="7" name="object 2">
              <a:extLst>
                <a:ext uri="{FF2B5EF4-FFF2-40B4-BE49-F238E27FC236}">
                  <a16:creationId xmlns:a16="http://schemas.microsoft.com/office/drawing/2014/main" id="{0A518ED2-8BA0-4110-9436-FAD7AAC05A56}"/>
                </a:ext>
              </a:extLst>
            </p:cNvPr>
            <p:cNvSpPr/>
            <p:nvPr/>
          </p:nvSpPr>
          <p:spPr>
            <a:xfrm>
              <a:off x="2343849" y="0"/>
              <a:ext cx="2522432" cy="5143500"/>
            </a:xfrm>
            <a:custGeom>
              <a:avLst/>
              <a:gdLst/>
              <a:ahLst/>
              <a:cxnLst/>
              <a:rect l="l" t="t" r="r" b="b"/>
              <a:pathLst>
                <a:path w="10052050" h="11308715">
                  <a:moveTo>
                    <a:pt x="0" y="11308556"/>
                  </a:moveTo>
                  <a:lnTo>
                    <a:pt x="10052049" y="11308556"/>
                  </a:lnTo>
                  <a:lnTo>
                    <a:pt x="10052049" y="0"/>
                  </a:lnTo>
                  <a:lnTo>
                    <a:pt x="0" y="0"/>
                  </a:lnTo>
                  <a:lnTo>
                    <a:pt x="0" y="11308556"/>
                  </a:lnTo>
                  <a:close/>
                </a:path>
              </a:pathLst>
            </a:custGeom>
            <a:solidFill>
              <a:srgbClr val="E4002B"/>
            </a:solidFill>
          </p:spPr>
          <p:txBody>
            <a:bodyPr wrap="square" lIns="0" tIns="0" rIns="0" bIns="0" rtlCol="0"/>
            <a:lstStyle/>
            <a:p>
              <a:endParaRPr sz="3200"/>
            </a:p>
          </p:txBody>
        </p:sp>
        <p:sp>
          <p:nvSpPr>
            <p:cNvPr id="8" name="object 2">
              <a:extLst>
                <a:ext uri="{FF2B5EF4-FFF2-40B4-BE49-F238E27FC236}">
                  <a16:creationId xmlns:a16="http://schemas.microsoft.com/office/drawing/2014/main" id="{BB2A9C95-46BB-41D7-B14D-6AA7A0666191}"/>
                </a:ext>
              </a:extLst>
            </p:cNvPr>
            <p:cNvSpPr/>
            <p:nvPr/>
          </p:nvSpPr>
          <p:spPr>
            <a:xfrm>
              <a:off x="-178916" y="0"/>
              <a:ext cx="2522432" cy="5143500"/>
            </a:xfrm>
            <a:custGeom>
              <a:avLst/>
              <a:gdLst/>
              <a:ahLst/>
              <a:cxnLst/>
              <a:rect l="l" t="t" r="r" b="b"/>
              <a:pathLst>
                <a:path w="10052050" h="11308715">
                  <a:moveTo>
                    <a:pt x="0" y="11308556"/>
                  </a:moveTo>
                  <a:lnTo>
                    <a:pt x="10052049" y="11308556"/>
                  </a:lnTo>
                  <a:lnTo>
                    <a:pt x="10052049" y="0"/>
                  </a:lnTo>
                  <a:lnTo>
                    <a:pt x="0" y="0"/>
                  </a:lnTo>
                  <a:lnTo>
                    <a:pt x="0" y="11308556"/>
                  </a:lnTo>
                  <a:close/>
                </a:path>
              </a:pathLst>
            </a:custGeom>
            <a:solidFill>
              <a:schemeClr val="tx1"/>
            </a:solidFill>
          </p:spPr>
          <p:txBody>
            <a:bodyPr wrap="square" lIns="0" tIns="0" rIns="0" bIns="0" rtlCol="0"/>
            <a:lstStyle/>
            <a:p>
              <a:endParaRPr sz="3200"/>
            </a:p>
          </p:txBody>
        </p:sp>
        <p:sp>
          <p:nvSpPr>
            <p:cNvPr id="9" name="object 2">
              <a:extLst>
                <a:ext uri="{FF2B5EF4-FFF2-40B4-BE49-F238E27FC236}">
                  <a16:creationId xmlns:a16="http://schemas.microsoft.com/office/drawing/2014/main" id="{154BDCAB-D0C6-4FA4-8CD7-A649F84E3A7D}"/>
                </a:ext>
              </a:extLst>
            </p:cNvPr>
            <p:cNvSpPr/>
            <p:nvPr/>
          </p:nvSpPr>
          <p:spPr>
            <a:xfrm>
              <a:off x="4866281" y="-1"/>
              <a:ext cx="2522432" cy="5143500"/>
            </a:xfrm>
            <a:custGeom>
              <a:avLst/>
              <a:gdLst/>
              <a:ahLst/>
              <a:cxnLst/>
              <a:rect l="l" t="t" r="r" b="b"/>
              <a:pathLst>
                <a:path w="10052050" h="11308715">
                  <a:moveTo>
                    <a:pt x="0" y="11308556"/>
                  </a:moveTo>
                  <a:lnTo>
                    <a:pt x="10052049" y="11308556"/>
                  </a:lnTo>
                  <a:lnTo>
                    <a:pt x="10052049" y="0"/>
                  </a:lnTo>
                  <a:lnTo>
                    <a:pt x="0" y="0"/>
                  </a:lnTo>
                  <a:lnTo>
                    <a:pt x="0" y="11308556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endParaRPr sz="3200"/>
            </a:p>
          </p:txBody>
        </p:sp>
      </p:grpSp>
      <p:sp>
        <p:nvSpPr>
          <p:cNvPr id="18" name="Rechteck 17">
            <a:extLst>
              <a:ext uri="{FF2B5EF4-FFF2-40B4-BE49-F238E27FC236}">
                <a16:creationId xmlns:a16="http://schemas.microsoft.com/office/drawing/2014/main" id="{E50AE779-7598-42AB-A6BA-C2EF767EDAE7}"/>
              </a:ext>
            </a:extLst>
          </p:cNvPr>
          <p:cNvSpPr/>
          <p:nvPr userDrawn="1"/>
        </p:nvSpPr>
        <p:spPr>
          <a:xfrm>
            <a:off x="8884916" y="2289544"/>
            <a:ext cx="229467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xhagener Str. 78</a:t>
            </a:r>
            <a:b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245 Berlin</a:t>
            </a:r>
          </a:p>
          <a:p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49 30 4036 7627-0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7AD9A70-0A21-40E9-9DE5-14CCE51B36CD}"/>
              </a:ext>
            </a:extLst>
          </p:cNvPr>
          <p:cNvSpPr/>
          <p:nvPr userDrawn="1"/>
        </p:nvSpPr>
        <p:spPr>
          <a:xfrm>
            <a:off x="353417" y="3393347"/>
            <a:ext cx="31379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chard-Reitzner-Allee 1</a:t>
            </a:r>
            <a:b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5540 Haar / München</a:t>
            </a:r>
          </a:p>
          <a:p>
            <a:endParaRPr lang="de-DE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49 89 856 33 33-0</a:t>
            </a:r>
          </a:p>
        </p:txBody>
      </p:sp>
      <p:sp>
        <p:nvSpPr>
          <p:cNvPr id="21" name="object 4">
            <a:extLst>
              <a:ext uri="{FF2B5EF4-FFF2-40B4-BE49-F238E27FC236}">
                <a16:creationId xmlns:a16="http://schemas.microsoft.com/office/drawing/2014/main" id="{1D52A33C-B142-48E3-8FC8-C69FF2FF6310}"/>
              </a:ext>
            </a:extLst>
          </p:cNvPr>
          <p:cNvSpPr txBox="1"/>
          <p:nvPr userDrawn="1"/>
        </p:nvSpPr>
        <p:spPr>
          <a:xfrm>
            <a:off x="335055" y="2810907"/>
            <a:ext cx="3335099" cy="59326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algn="ctr">
              <a:spcBef>
                <a:spcPts val="147"/>
              </a:spcBef>
            </a:pPr>
            <a:r>
              <a:rPr lang="de-DE" sz="3733" b="1" spc="40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MÜNCHEN</a:t>
            </a: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D0ED5F1C-A811-4339-B715-775D70EEA1AE}"/>
              </a:ext>
            </a:extLst>
          </p:cNvPr>
          <p:cNvSpPr txBox="1"/>
          <p:nvPr userDrawn="1"/>
        </p:nvSpPr>
        <p:spPr>
          <a:xfrm>
            <a:off x="4199273" y="4123524"/>
            <a:ext cx="3838939" cy="59326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algn="ctr">
              <a:spcBef>
                <a:spcPts val="147"/>
              </a:spcBef>
            </a:pPr>
            <a:r>
              <a:rPr lang="de-DE" sz="3733" b="1" spc="400">
                <a:latin typeface="Arial Black" panose="020B0604020202020204" pitchFamily="34" charset="0"/>
                <a:cs typeface="Arial Black" panose="020B0604020202020204" pitchFamily="34" charset="0"/>
              </a:rPr>
              <a:t>STUTTGAR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D887639-4E12-49EF-83D2-D087AA4D7D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1341" y="141774"/>
            <a:ext cx="2348887" cy="535189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759A5BDA-5E5D-496D-95EF-B4E16183BE82}"/>
              </a:ext>
            </a:extLst>
          </p:cNvPr>
          <p:cNvSpPr/>
          <p:nvPr userDrawn="1"/>
        </p:nvSpPr>
        <p:spPr>
          <a:xfrm>
            <a:off x="4187853" y="4673308"/>
            <a:ext cx="369229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Industriestraße 3</a:t>
            </a:r>
            <a:b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70565 Stuttgart</a:t>
            </a:r>
          </a:p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+49 711 508 718-0</a:t>
            </a: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4842D1C0-04A7-4795-88D6-BF4D7C86DD72}"/>
              </a:ext>
            </a:extLst>
          </p:cNvPr>
          <p:cNvSpPr txBox="1"/>
          <p:nvPr userDrawn="1"/>
        </p:nvSpPr>
        <p:spPr>
          <a:xfrm>
            <a:off x="8743395" y="1729604"/>
            <a:ext cx="2775415" cy="59326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algn="ctr">
              <a:spcBef>
                <a:spcPts val="147"/>
              </a:spcBef>
            </a:pPr>
            <a:r>
              <a:rPr lang="de-DE" sz="3733" b="1" spc="40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BERLIN</a:t>
            </a:r>
          </a:p>
        </p:txBody>
      </p:sp>
    </p:spTree>
    <p:extLst>
      <p:ext uri="{BB962C8B-B14F-4D97-AF65-F5344CB8AC3E}">
        <p14:creationId xmlns:p14="http://schemas.microsoft.com/office/powerpoint/2010/main" val="22899085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34000" y="0"/>
            <a:ext cx="6858000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EC10922-7909-47A9-A097-5F71D1BC7D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8000" y="1037401"/>
            <a:ext cx="4099275" cy="1056000"/>
          </a:xfrm>
          <a:noFill/>
        </p:spPr>
        <p:txBody>
          <a:bodyPr lIns="0" tIns="0" r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3600" cap="none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</a:t>
            </a:r>
          </a:p>
          <a:p>
            <a:pPr lvl="1"/>
            <a:r>
              <a:rPr lang="de-DE" noProof="0"/>
              <a:t>Zweite Ebe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A56AF00-8E35-45E3-A351-E1DC9A53A3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624" y="3689195"/>
            <a:ext cx="2736000" cy="29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595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ferenz - Bild links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8353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5EA95062-697C-4197-BB83-3031F7C010DD}"/>
              </a:ext>
            </a:extLst>
          </p:cNvPr>
          <p:cNvSpPr/>
          <p:nvPr userDrawn="1"/>
        </p:nvSpPr>
        <p:spPr>
          <a:xfrm>
            <a:off x="6096640" y="3428999"/>
            <a:ext cx="6095360" cy="3429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89A9DD7-F76C-432A-A66C-9E16096FBBC5}"/>
              </a:ext>
            </a:extLst>
          </p:cNvPr>
          <p:cNvSpPr/>
          <p:nvPr userDrawn="1"/>
        </p:nvSpPr>
        <p:spPr>
          <a:xfrm>
            <a:off x="0" y="3429005"/>
            <a:ext cx="6096213" cy="3429000"/>
          </a:xfrm>
          <a:prstGeom prst="rect">
            <a:avLst/>
          </a:prstGeom>
          <a:solidFill>
            <a:srgbClr val="E40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0D52C7D-2859-42D5-9974-0B230DB7C06C}"/>
              </a:ext>
            </a:extLst>
          </p:cNvPr>
          <p:cNvSpPr/>
          <p:nvPr userDrawn="1"/>
        </p:nvSpPr>
        <p:spPr>
          <a:xfrm>
            <a:off x="0" y="0"/>
            <a:ext cx="6095360" cy="342900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06D543F-FB0B-4EFA-B577-E64A21230B48}"/>
              </a:ext>
            </a:extLst>
          </p:cNvPr>
          <p:cNvSpPr/>
          <p:nvPr userDrawn="1"/>
        </p:nvSpPr>
        <p:spPr>
          <a:xfrm>
            <a:off x="6096640" y="0"/>
            <a:ext cx="6095360" cy="3429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20" name="Textplatzhalter 16">
            <a:extLst>
              <a:ext uri="{FF2B5EF4-FFF2-40B4-BE49-F238E27FC236}">
                <a16:creationId xmlns:a16="http://schemas.microsoft.com/office/drawing/2014/main" id="{7D850D8D-94EE-4DAB-8F02-12C8ABE0F9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078" y="1000979"/>
            <a:ext cx="3975204" cy="1427041"/>
          </a:xfrm>
          <a:noFill/>
        </p:spPr>
        <p:txBody>
          <a:bodyPr anchor="ctr"/>
          <a:lstStyle>
            <a:lvl1pPr marL="0" algn="ctr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ext</a:t>
            </a:r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865F7597-9512-416C-BF85-0062D46BE4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55438" y="1000979"/>
            <a:ext cx="3975204" cy="1427041"/>
          </a:xfrm>
          <a:noFill/>
        </p:spPr>
        <p:txBody>
          <a:bodyPr anchor="ctr"/>
          <a:lstStyle>
            <a:lvl1pPr marL="0" algn="ctr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ext</a:t>
            </a:r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8E918D4A-B565-4436-B81D-19DAEA07F1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60078" y="4429980"/>
            <a:ext cx="3975204" cy="1427041"/>
          </a:xfrm>
          <a:noFill/>
        </p:spPr>
        <p:txBody>
          <a:bodyPr anchor="ctr"/>
          <a:lstStyle>
            <a:lvl1pPr marL="0" algn="ctr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ext</a:t>
            </a:r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155B6976-93EB-4DE9-BA55-A27EB5FFC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55438" y="4429980"/>
            <a:ext cx="3975204" cy="1427041"/>
          </a:xfrm>
          <a:noFill/>
        </p:spPr>
        <p:txBody>
          <a:bodyPr anchor="ctr"/>
          <a:lstStyle>
            <a:lvl1pPr marL="0" algn="ctr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7690533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77DE12B-510D-4595-9611-E578ADE850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67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77DE12B-510D-4595-9611-E578ADE85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169946DF-E0E4-45FA-846E-3516BF488D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000" y="1885958"/>
            <a:ext cx="10152000" cy="108846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54F8F610-F487-40C4-BC9D-10C86543A6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032000" y="3363638"/>
            <a:ext cx="10152000" cy="108846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20B0D73-6875-46DD-96BD-F1B688448D09}"/>
              </a:ext>
            </a:extLst>
          </p:cNvPr>
          <p:cNvSpPr txBox="1"/>
          <p:nvPr userDrawn="1"/>
        </p:nvSpPr>
        <p:spPr>
          <a:xfrm>
            <a:off x="985820" y="4883172"/>
            <a:ext cx="3836756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33" b="0" kern="1200" cap="all" baseline="0" noProof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WENN AUS TECHNIK FREUNDSCHAFT WIRD</a:t>
            </a:r>
            <a:endParaRPr lang="de-DE" sz="1333" b="0" kern="1200" cap="all" baseline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22491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weiß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766D91-CD11-42DD-9582-D4D66CB89B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294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766D91-CD11-42DD-9582-D4D66CB89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B4EB333C-A679-42FE-83AB-921D8142E2B9}"/>
              </a:ext>
            </a:extLst>
          </p:cNvPr>
          <p:cNvSpPr>
            <a:spLocks noChangeAspect="1"/>
          </p:cNvSpPr>
          <p:nvPr userDrawn="1"/>
        </p:nvSpPr>
        <p:spPr>
          <a:xfrm>
            <a:off x="766197" y="1439827"/>
            <a:ext cx="4560000" cy="45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E0CFEC-BEF2-41CC-8BA2-5D4C57A90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092" y="1435199"/>
            <a:ext cx="168000" cy="4982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Öffentl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65006A1-127E-453A-8AC2-3BF9BD36D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5" y="6475200"/>
            <a:ext cx="168000" cy="38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noProof="0" smtClean="0"/>
              <a:pPr/>
              <a:t>‹Nr.›</a:t>
            </a:fld>
            <a:r>
              <a:rPr lang="de-DE" noProof="0"/>
              <a:t> |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805C94E-8FD3-4A42-B8F7-FB1915A89F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001DC86-E6E4-4427-8392-F89C34D8F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97" y="568864"/>
            <a:ext cx="4560000" cy="488921"/>
          </a:xfrm>
          <a:prstGeom prst="rect">
            <a:avLst/>
          </a:prstGeom>
        </p:spPr>
      </p:pic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832EF458-16A7-4750-AA26-68B366DF5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6896" y="5323729"/>
            <a:ext cx="2640000" cy="384000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2EE98A-1738-4726-AF74-B647708F57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948499" y="4809600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/>
              <a:t>Kunden-Logo</a:t>
            </a:r>
            <a:br>
              <a:rPr lang="de-DE"/>
            </a:br>
            <a:r>
              <a:rPr lang="de-DE"/>
              <a:t>(optional)</a:t>
            </a:r>
          </a:p>
          <a:p>
            <a:pPr lvl="0"/>
            <a:br>
              <a:rPr lang="de-DE"/>
            </a:br>
            <a:br>
              <a:rPr lang="de-DE"/>
            </a:br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70D165E1-57FE-4378-8381-0D6847A19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6896" y="2805777"/>
            <a:ext cx="3975204" cy="583967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Zweite Ebene</a:t>
            </a:r>
            <a:endParaRPr lang="de-DE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A5B7E1AA-D192-42E4-AF10-25EBDEC3DC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46896" y="1738802"/>
            <a:ext cx="3975204" cy="899999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130" b="1" cap="all" baseline="0">
                <a:solidFill>
                  <a:schemeClr val="tx2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61583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ro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766D91-CD11-42DD-9582-D4D66CB89B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294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766D91-CD11-42DD-9582-D4D66CB89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B4EB333C-A679-42FE-83AB-921D8142E2B9}"/>
              </a:ext>
            </a:extLst>
          </p:cNvPr>
          <p:cNvSpPr>
            <a:spLocks noChangeAspect="1"/>
          </p:cNvSpPr>
          <p:nvPr userDrawn="1"/>
        </p:nvSpPr>
        <p:spPr>
          <a:xfrm>
            <a:off x="766197" y="1439827"/>
            <a:ext cx="45600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E0CFEC-BEF2-41CC-8BA2-5D4C57A90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092" y="1435199"/>
            <a:ext cx="168000" cy="4982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Öffentl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65006A1-127E-453A-8AC2-3BF9BD36D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5" y="6475200"/>
            <a:ext cx="168000" cy="38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noProof="0" smtClean="0"/>
              <a:pPr/>
              <a:t>‹Nr.›</a:t>
            </a:fld>
            <a:r>
              <a:rPr lang="de-DE" noProof="0"/>
              <a:t> |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805C94E-8FD3-4A42-B8F7-FB1915A89F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001DC86-E6E4-4427-8392-F89C34D8F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97" y="568864"/>
            <a:ext cx="4560000" cy="488921"/>
          </a:xfrm>
          <a:prstGeom prst="rect">
            <a:avLst/>
          </a:prstGeom>
        </p:spPr>
      </p:pic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832EF458-16A7-4750-AA26-68B366DF5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6896" y="5323729"/>
            <a:ext cx="2640000" cy="384000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2EE98A-1738-4726-AF74-B647708F57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948499" y="4809600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/>
              <a:t>Kunden-Logo</a:t>
            </a:r>
            <a:br>
              <a:rPr lang="de-DE"/>
            </a:br>
            <a:r>
              <a:rPr lang="de-DE"/>
              <a:t>(optional)</a:t>
            </a:r>
          </a:p>
          <a:p>
            <a:pPr lvl="0"/>
            <a:br>
              <a:rPr lang="de-DE"/>
            </a:br>
            <a:br>
              <a:rPr lang="de-DE"/>
            </a:br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70D165E1-57FE-4378-8381-0D6847A19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6896" y="2805778"/>
            <a:ext cx="3975204" cy="623222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Zweite Ebene</a:t>
            </a:r>
            <a:endParaRPr lang="de-DE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A5B7E1AA-D192-42E4-AF10-25EBDEC3DC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46896" y="1738802"/>
            <a:ext cx="3975204" cy="899999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13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35121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kurze Agenda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C8806BA8-FA42-446D-A2DE-20D26668E129}"/>
              </a:ext>
            </a:extLst>
          </p:cNvPr>
          <p:cNvSpPr/>
          <p:nvPr userDrawn="1"/>
        </p:nvSpPr>
        <p:spPr>
          <a:xfrm>
            <a:off x="6095999" y="0"/>
            <a:ext cx="6096000" cy="6859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0BABB508-1F9A-4ED4-A2F4-0F0370AD8300}"/>
              </a:ext>
            </a:extLst>
          </p:cNvPr>
          <p:cNvSpPr>
            <a:spLocks noChangeAspect="1"/>
          </p:cNvSpPr>
          <p:nvPr userDrawn="1"/>
        </p:nvSpPr>
        <p:spPr>
          <a:xfrm>
            <a:off x="771517" y="3263643"/>
            <a:ext cx="1943108" cy="1944000"/>
          </a:xfrm>
          <a:custGeom>
            <a:avLst/>
            <a:gdLst/>
            <a:ahLst/>
            <a:cxnLst/>
            <a:rect l="l" t="t" r="r" b="b"/>
            <a:pathLst>
              <a:path w="6628130" h="6601459">
                <a:moveTo>
                  <a:pt x="6628070" y="0"/>
                </a:moveTo>
                <a:lnTo>
                  <a:pt x="0" y="0"/>
                </a:lnTo>
                <a:lnTo>
                  <a:pt x="0" y="6601181"/>
                </a:lnTo>
                <a:lnTo>
                  <a:pt x="6628070" y="6601181"/>
                </a:lnTo>
                <a:lnTo>
                  <a:pt x="6628070" y="0"/>
                </a:lnTo>
                <a:close/>
              </a:path>
            </a:pathLst>
          </a:custGeom>
          <a:solidFill>
            <a:srgbClr val="CF0027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1351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C41188AE-038A-4297-A4AE-821DB316A7E2}"/>
              </a:ext>
            </a:extLst>
          </p:cNvPr>
          <p:cNvSpPr txBox="1"/>
          <p:nvPr userDrawn="1"/>
        </p:nvSpPr>
        <p:spPr>
          <a:xfrm>
            <a:off x="762000" y="754557"/>
            <a:ext cx="5334000" cy="4120488"/>
          </a:xfrm>
          <a:prstGeom prst="rect">
            <a:avLst/>
          </a:prstGeom>
        </p:spPr>
        <p:txBody>
          <a:bodyPr vert="horz" wrap="square" lIns="0" tIns="13971" rIns="0" bIns="0" rtlCol="0">
            <a:spAutoFit/>
          </a:bodyPr>
          <a:lstStyle/>
          <a:p>
            <a:pPr marL="12700">
              <a:spcBef>
                <a:spcPts val="111"/>
              </a:spcBef>
            </a:pPr>
            <a:r>
              <a:rPr lang="de-DE" sz="8000" b="1" spc="300">
                <a:cs typeface="Arial Black" panose="020B0604020202020204" pitchFamily="34" charset="0"/>
              </a:rPr>
              <a:t>WAS</a:t>
            </a:r>
          </a:p>
          <a:p>
            <a:pPr marL="12700">
              <a:spcBef>
                <a:spcPts val="111"/>
              </a:spcBef>
            </a:pPr>
            <a:r>
              <a:rPr lang="de-DE" sz="8000" b="1" spc="300">
                <a:cs typeface="Arial Black" panose="020B0604020202020204" pitchFamily="34" charset="0"/>
              </a:rPr>
              <a:t>KOMMT</a:t>
            </a:r>
          </a:p>
          <a:p>
            <a:pPr marL="12700">
              <a:lnSpc>
                <a:spcPct val="150000"/>
              </a:lnSpc>
              <a:spcBef>
                <a:spcPts val="111"/>
              </a:spcBef>
            </a:pPr>
            <a:r>
              <a:rPr lang="de-DE" sz="8000" b="1" spc="300">
                <a:cs typeface="Arial Black" panose="020B0604020202020204" pitchFamily="34" charset="0"/>
              </a:rPr>
              <a:t> JETZT?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D91CC83-99C4-41A2-AB8C-F2FCC6E6CE14}"/>
              </a:ext>
            </a:extLst>
          </p:cNvPr>
          <p:cNvSpPr txBox="1"/>
          <p:nvPr userDrawn="1"/>
        </p:nvSpPr>
        <p:spPr>
          <a:xfrm>
            <a:off x="3105600" y="3282693"/>
            <a:ext cx="1827016" cy="3282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133" b="1" cap="all" baseline="0"/>
              <a:t>Eigentlich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3EA0338-C318-482F-98C1-9DDED107C8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Öffent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EBA1DD31-CD81-40B0-BE9E-98FBC944EF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857565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ro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766D91-CD11-42DD-9582-D4D66CB89B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294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766D91-CD11-42DD-9582-D4D66CB89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B4EB333C-A679-42FE-83AB-921D8142E2B9}"/>
              </a:ext>
            </a:extLst>
          </p:cNvPr>
          <p:cNvSpPr>
            <a:spLocks noChangeAspect="1"/>
          </p:cNvSpPr>
          <p:nvPr userDrawn="1"/>
        </p:nvSpPr>
        <p:spPr>
          <a:xfrm>
            <a:off x="766197" y="1439827"/>
            <a:ext cx="45600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E0CFEC-BEF2-41CC-8BA2-5D4C57A90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092" y="1435199"/>
            <a:ext cx="168000" cy="4982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Öffentl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65006A1-127E-453A-8AC2-3BF9BD36D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5" y="6475200"/>
            <a:ext cx="168000" cy="38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noProof="0" smtClean="0"/>
              <a:pPr/>
              <a:t>‹Nr.›</a:t>
            </a:fld>
            <a:r>
              <a:rPr lang="de-DE" noProof="0"/>
              <a:t> |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805C94E-8FD3-4A42-B8F7-FB1915A89F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001DC86-E6E4-4427-8392-F89C34D8F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97" y="568864"/>
            <a:ext cx="4560000" cy="488921"/>
          </a:xfrm>
          <a:prstGeom prst="rect">
            <a:avLst/>
          </a:prstGeom>
        </p:spPr>
      </p:pic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832EF458-16A7-4750-AA26-68B366DF5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6896" y="5323729"/>
            <a:ext cx="2640000" cy="384000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2EE98A-1738-4726-AF74-B647708F57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948499" y="4809600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/>
              <a:t>Kunden-Logo</a:t>
            </a:r>
            <a:br>
              <a:rPr lang="de-DE"/>
            </a:br>
            <a:r>
              <a:rPr lang="de-DE"/>
              <a:t>(optional)</a:t>
            </a:r>
          </a:p>
          <a:p>
            <a:pPr lvl="0"/>
            <a:br>
              <a:rPr lang="de-DE"/>
            </a:br>
            <a:br>
              <a:rPr lang="de-DE"/>
            </a:br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70D165E1-57FE-4378-8381-0D6847A19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6896" y="2805778"/>
            <a:ext cx="3975204" cy="623222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Zweite Ebene</a:t>
            </a:r>
            <a:endParaRPr lang="de-DE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A5B7E1AA-D192-42E4-AF10-25EBDEC3DC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46896" y="1738802"/>
            <a:ext cx="3975204" cy="899999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4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18107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lange Agenda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C8806BA8-FA42-446D-A2DE-20D26668E129}"/>
              </a:ext>
            </a:extLst>
          </p:cNvPr>
          <p:cNvSpPr/>
          <p:nvPr userDrawn="1"/>
        </p:nvSpPr>
        <p:spPr>
          <a:xfrm>
            <a:off x="4128655" y="0"/>
            <a:ext cx="8063344" cy="6859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0BABB508-1F9A-4ED4-A2F4-0F0370AD8300}"/>
              </a:ext>
            </a:extLst>
          </p:cNvPr>
          <p:cNvSpPr>
            <a:spLocks noChangeAspect="1"/>
          </p:cNvSpPr>
          <p:nvPr userDrawn="1"/>
        </p:nvSpPr>
        <p:spPr>
          <a:xfrm>
            <a:off x="771518" y="3037862"/>
            <a:ext cx="1295419" cy="1296014"/>
          </a:xfrm>
          <a:custGeom>
            <a:avLst/>
            <a:gdLst/>
            <a:ahLst/>
            <a:cxnLst/>
            <a:rect l="l" t="t" r="r" b="b"/>
            <a:pathLst>
              <a:path w="6628130" h="6601459">
                <a:moveTo>
                  <a:pt x="6628070" y="0"/>
                </a:moveTo>
                <a:lnTo>
                  <a:pt x="0" y="0"/>
                </a:lnTo>
                <a:lnTo>
                  <a:pt x="0" y="6601181"/>
                </a:lnTo>
                <a:lnTo>
                  <a:pt x="6628070" y="6601181"/>
                </a:lnTo>
                <a:lnTo>
                  <a:pt x="6628070" y="0"/>
                </a:lnTo>
                <a:close/>
              </a:path>
            </a:pathLst>
          </a:custGeom>
          <a:solidFill>
            <a:srgbClr val="CF0027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1351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C41188AE-038A-4297-A4AE-821DB316A7E2}"/>
              </a:ext>
            </a:extLst>
          </p:cNvPr>
          <p:cNvSpPr txBox="1"/>
          <p:nvPr userDrawn="1"/>
        </p:nvSpPr>
        <p:spPr>
          <a:xfrm>
            <a:off x="762000" y="1294886"/>
            <a:ext cx="3366655" cy="2852320"/>
          </a:xfrm>
          <a:prstGeom prst="rect">
            <a:avLst/>
          </a:prstGeom>
        </p:spPr>
        <p:txBody>
          <a:bodyPr vert="horz" wrap="square" lIns="0" tIns="13971" rIns="0" bIns="0" rtlCol="0">
            <a:spAutoFit/>
          </a:bodyPr>
          <a:lstStyle/>
          <a:p>
            <a:pPr marL="12700">
              <a:spcBef>
                <a:spcPts val="111"/>
              </a:spcBef>
            </a:pPr>
            <a:r>
              <a:rPr lang="de-DE" sz="4800" b="1" spc="300">
                <a:cs typeface="Arial Black" panose="020B0604020202020204" pitchFamily="34" charset="0"/>
              </a:rPr>
              <a:t>WAS</a:t>
            </a:r>
          </a:p>
          <a:p>
            <a:pPr marL="12700">
              <a:spcBef>
                <a:spcPts val="111"/>
              </a:spcBef>
            </a:pPr>
            <a:r>
              <a:rPr lang="de-DE" sz="4800" b="1" spc="300">
                <a:cs typeface="Arial Black" panose="020B0604020202020204" pitchFamily="34" charset="0"/>
              </a:rPr>
              <a:t>KOMMT</a:t>
            </a:r>
          </a:p>
          <a:p>
            <a:pPr marL="12700">
              <a:lnSpc>
                <a:spcPct val="150000"/>
              </a:lnSpc>
              <a:spcBef>
                <a:spcPts val="111"/>
              </a:spcBef>
            </a:pPr>
            <a:r>
              <a:rPr lang="de-DE" sz="6600" b="1" spc="300">
                <a:cs typeface="Arial Black" panose="020B0604020202020204" pitchFamily="34" charset="0"/>
              </a:rPr>
              <a:t> </a:t>
            </a:r>
            <a:r>
              <a:rPr lang="de-DE" sz="4800" b="1" spc="300">
                <a:cs typeface="Arial Black" panose="020B0604020202020204" pitchFamily="34" charset="0"/>
              </a:rPr>
              <a:t>JETZT?</a:t>
            </a:r>
            <a:endParaRPr lang="de-DE" sz="6600" b="1" spc="300">
              <a:cs typeface="Arial Black" panose="020B060402020202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D91CC83-99C4-41A2-AB8C-F2FCC6E6CE14}"/>
              </a:ext>
            </a:extLst>
          </p:cNvPr>
          <p:cNvSpPr txBox="1"/>
          <p:nvPr userDrawn="1"/>
        </p:nvSpPr>
        <p:spPr>
          <a:xfrm>
            <a:off x="2309813" y="3003549"/>
            <a:ext cx="141403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cap="all" baseline="0"/>
              <a:t>Eigentlich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3EA0338-C318-482F-98C1-9DDED107C8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Öffent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EBA1DD31-CD81-40B0-BE9E-98FBC944EF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585884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D790791-4DEA-4890-82E0-5E36E76F65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F4917484-29D0-4980-B13E-0A7DF79983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8898368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00" y="1435200"/>
            <a:ext cx="4946309" cy="5035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853DEA5-9637-41DA-88C0-83695E9C68E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64994" y="1435200"/>
            <a:ext cx="4952399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40EA46-596F-43FB-BC6A-854217819D3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4230D0-F474-4D4C-8A13-B403906D95E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5945295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00" y="1435200"/>
            <a:ext cx="3292800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853DEA5-9637-41DA-88C0-83695E9C68E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60191" y="1435200"/>
            <a:ext cx="3292800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7F9D295-46D0-4DC4-B846-BF2F1645B14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34612" y="1435200"/>
            <a:ext cx="3292800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1A031B-8F56-4988-A489-7BB8D23CDA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9FC6CE-F873-4A26-8A0C-C47DF11A96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7391069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1-spaltig +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9BCB59C7-0A3C-47DE-91D1-99578ED0DF9D}"/>
              </a:ext>
            </a:extLst>
          </p:cNvPr>
          <p:cNvSpPr/>
          <p:nvPr userDrawn="1"/>
        </p:nvSpPr>
        <p:spPr>
          <a:xfrm>
            <a:off x="0" y="6015600"/>
            <a:ext cx="11422800" cy="4608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00" y="1435199"/>
            <a:ext cx="10656000" cy="4196719"/>
          </a:xfrm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736DA5A-064C-4725-B847-21EDE6817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6015919"/>
            <a:ext cx="11424000" cy="460800"/>
          </a:xfrm>
          <a:noFill/>
        </p:spPr>
        <p:txBody>
          <a:bodyPr lIns="792000" rIns="180000" anchor="ctr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1"/>
            <a:r>
              <a:rPr lang="de-DE"/>
              <a:t>Mastertextformat bearbeiten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996D5677-1665-4726-8745-3090AFADBE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3A69E66C-CFA3-4397-BD2C-D8CB2EA064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CB4C7F5-0C72-44DA-9CEF-A4305476AE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0" y="6109200"/>
            <a:ext cx="299756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2548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links - ro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9658A0C-A6BA-42CA-953D-D5FC6D5CA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78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9658A0C-A6BA-42CA-953D-D5FC6D5CA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27456A7D-E3C9-4579-BE24-8BCB816FCFCA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BDCD28-8E0E-41D6-A408-CB4DBE0D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FB098-C867-4840-AD8F-533810DAA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80592DBF-7212-44CD-BB25-555CD26D83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Untertitel / Kernaussage (maximal 2 Zeilen)</a:t>
            </a:r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E1F67941-2A6A-43AC-AE1E-AB8851302C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itel</a:t>
            </a:r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E683A82E-717E-4E84-82CE-83C81750D5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2397665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rot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1E9A899-4C37-4B3C-8E4C-E898C611A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502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1E9A899-4C37-4B3C-8E4C-E898C611A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234BD2C6-7EC0-401A-B5AB-873AA7F3DE62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DDE1B922-5DD3-4E74-B6B5-D79BB1B46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Untertitel / Kernaussage (maximal 2 Zeilen)</a:t>
            </a:r>
            <a:endParaRPr lang="de-DE"/>
          </a:p>
        </p:txBody>
      </p:sp>
      <p:sp>
        <p:nvSpPr>
          <p:cNvPr id="16" name="Textplatzhalter 16">
            <a:extLst>
              <a:ext uri="{FF2B5EF4-FFF2-40B4-BE49-F238E27FC236}">
                <a16:creationId xmlns:a16="http://schemas.microsoft.com/office/drawing/2014/main" id="{D6EC04CD-2E98-4564-BD2C-1566AE4329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itel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76D4ADB-FF5C-4DB8-A3F5-7056B9C566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0C80FB8-7E58-4826-99D5-2C80F69F42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</p:spPr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BE50E86-8B22-42E2-9E27-17D987CD252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141427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Bild links - schwarz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>
            <a:extLst>
              <a:ext uri="{FF2B5EF4-FFF2-40B4-BE49-F238E27FC236}">
                <a16:creationId xmlns:a16="http://schemas.microsoft.com/office/drawing/2014/main" id="{EEE95D89-C8F6-49CE-9A77-06E28B6F570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2EDEAA2-10A3-47AB-9860-FC8E78F0C5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72A4DC-C175-40AC-A889-767C90F635F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7E8BD2F-E95A-4B69-BF3A-0E363A7263FB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833F195C-11F4-4AEB-A094-665029D30C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Untertitel / Kernaussage (maximal 2 Zeilen)</a:t>
            </a:r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31561933-C8F1-4898-B7C8-6AB984BC56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itel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FA088D6A-647C-48B5-986B-278C96963B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499605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schwarz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1E9A899-4C37-4B3C-8E4C-E898C611A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502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1E9A899-4C37-4B3C-8E4C-E898C611A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>
            <a:extLst>
              <a:ext uri="{FF2B5EF4-FFF2-40B4-BE49-F238E27FC236}">
                <a16:creationId xmlns:a16="http://schemas.microsoft.com/office/drawing/2014/main" id="{234BD2C6-7EC0-401A-B5AB-873AA7F3DE62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DDE1B922-5DD3-4E74-B6B5-D79BB1B46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Untertitel / Kernaussage (maximal 2 Zeilen)</a:t>
            </a:r>
            <a:endParaRPr lang="de-DE"/>
          </a:p>
        </p:txBody>
      </p:sp>
      <p:sp>
        <p:nvSpPr>
          <p:cNvPr id="16" name="Textplatzhalter 16">
            <a:extLst>
              <a:ext uri="{FF2B5EF4-FFF2-40B4-BE49-F238E27FC236}">
                <a16:creationId xmlns:a16="http://schemas.microsoft.com/office/drawing/2014/main" id="{D6EC04CD-2E98-4564-BD2C-1566AE4329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itel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76D4ADB-FF5C-4DB8-A3F5-7056B9C566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0C80FB8-7E58-4826-99D5-2C80F69F42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</p:spPr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BE50E86-8B22-42E2-9E27-17D987CD252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7850786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links - weiß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BDCD28-8E0E-41D6-A408-CB4DBE0D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FB098-C867-4840-AD8F-533810DAA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5486FBF-1668-470E-886F-7007393EE53C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5945D37B-A971-4EEA-8EA0-FC136A9398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Untertitel / Kernaussage (maximal 2 Zeilen)</a:t>
            </a:r>
            <a:endParaRPr lang="de-DE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3C4B6533-F956-4079-A2E1-4B3BB528B5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rgbClr val="EA0029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itel</a:t>
            </a:r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37A32FF1-CE0E-4FAE-A37E-3D84958811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2334668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kurze Agenda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C8806BA8-FA42-446D-A2DE-20D26668E129}"/>
              </a:ext>
            </a:extLst>
          </p:cNvPr>
          <p:cNvSpPr/>
          <p:nvPr userDrawn="1"/>
        </p:nvSpPr>
        <p:spPr>
          <a:xfrm>
            <a:off x="6095999" y="0"/>
            <a:ext cx="6096000" cy="6859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0BABB508-1F9A-4ED4-A2F4-0F0370AD8300}"/>
              </a:ext>
            </a:extLst>
          </p:cNvPr>
          <p:cNvSpPr>
            <a:spLocks noChangeAspect="1"/>
          </p:cNvSpPr>
          <p:nvPr userDrawn="1"/>
        </p:nvSpPr>
        <p:spPr>
          <a:xfrm>
            <a:off x="771517" y="3263643"/>
            <a:ext cx="1943108" cy="1944000"/>
          </a:xfrm>
          <a:custGeom>
            <a:avLst/>
            <a:gdLst/>
            <a:ahLst/>
            <a:cxnLst/>
            <a:rect l="l" t="t" r="r" b="b"/>
            <a:pathLst>
              <a:path w="6628130" h="6601459">
                <a:moveTo>
                  <a:pt x="6628070" y="0"/>
                </a:moveTo>
                <a:lnTo>
                  <a:pt x="0" y="0"/>
                </a:lnTo>
                <a:lnTo>
                  <a:pt x="0" y="6601181"/>
                </a:lnTo>
                <a:lnTo>
                  <a:pt x="6628070" y="6601181"/>
                </a:lnTo>
                <a:lnTo>
                  <a:pt x="6628070" y="0"/>
                </a:lnTo>
                <a:close/>
              </a:path>
            </a:pathLst>
          </a:custGeom>
          <a:solidFill>
            <a:srgbClr val="CF0027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1351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C41188AE-038A-4297-A4AE-821DB316A7E2}"/>
              </a:ext>
            </a:extLst>
          </p:cNvPr>
          <p:cNvSpPr txBox="1"/>
          <p:nvPr userDrawn="1"/>
        </p:nvSpPr>
        <p:spPr>
          <a:xfrm>
            <a:off x="762000" y="754557"/>
            <a:ext cx="5334000" cy="4120488"/>
          </a:xfrm>
          <a:prstGeom prst="rect">
            <a:avLst/>
          </a:prstGeom>
        </p:spPr>
        <p:txBody>
          <a:bodyPr vert="horz" wrap="square" lIns="0" tIns="13971" rIns="0" bIns="0" rtlCol="0">
            <a:spAutoFit/>
          </a:bodyPr>
          <a:lstStyle/>
          <a:p>
            <a:pPr marL="12700">
              <a:spcBef>
                <a:spcPts val="111"/>
              </a:spcBef>
            </a:pPr>
            <a:r>
              <a:rPr lang="de-DE" sz="8000" b="1" spc="300">
                <a:cs typeface="Arial Black" panose="020B0604020202020204" pitchFamily="34" charset="0"/>
              </a:rPr>
              <a:t>WAS</a:t>
            </a:r>
          </a:p>
          <a:p>
            <a:pPr marL="12700">
              <a:spcBef>
                <a:spcPts val="111"/>
              </a:spcBef>
            </a:pPr>
            <a:r>
              <a:rPr lang="de-DE" sz="8000" b="1" spc="300">
                <a:cs typeface="Arial Black" panose="020B0604020202020204" pitchFamily="34" charset="0"/>
              </a:rPr>
              <a:t>KOMMT</a:t>
            </a:r>
          </a:p>
          <a:p>
            <a:pPr marL="12700">
              <a:lnSpc>
                <a:spcPct val="150000"/>
              </a:lnSpc>
              <a:spcBef>
                <a:spcPts val="111"/>
              </a:spcBef>
            </a:pPr>
            <a:r>
              <a:rPr lang="de-DE" sz="8000" b="1" spc="300">
                <a:cs typeface="Arial Black" panose="020B0604020202020204" pitchFamily="34" charset="0"/>
              </a:rPr>
              <a:t> JETZT?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D91CC83-99C4-41A2-AB8C-F2FCC6E6CE14}"/>
              </a:ext>
            </a:extLst>
          </p:cNvPr>
          <p:cNvSpPr txBox="1"/>
          <p:nvPr userDrawn="1"/>
        </p:nvSpPr>
        <p:spPr>
          <a:xfrm>
            <a:off x="3105600" y="3206493"/>
            <a:ext cx="20379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cap="all" baseline="0"/>
              <a:t>Eigentlich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3EA0338-C318-482F-98C1-9DDED107C8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Öffent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EBA1DD31-CD81-40B0-BE9E-98FBC944EF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757113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weiß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8F130A60-EFEC-4350-84D7-65D4E4F1CD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Öffentlich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D1E8D867-8C9A-42BE-B822-534F5876FC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F1ECC909-420A-4656-AB30-229C210B80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Untertitel / Kernaussage (maximal 2 Zeilen)</a:t>
            </a:r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rgbClr val="EA0029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itel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55309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links - rot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BDCD28-8E0E-41D6-A408-CB4DBE0D6C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Öffentlich, Intern, Vertraulich, Streng vertrau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D6FB098-C867-4840-AD8F-533810DAAC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5486FBF-1668-470E-886F-7007393EE53C}"/>
              </a:ext>
            </a:extLst>
          </p:cNvPr>
          <p:cNvSpPr/>
          <p:nvPr userDrawn="1"/>
        </p:nvSpPr>
        <p:spPr>
          <a:xfrm>
            <a:off x="6872325" y="1027872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5945D37B-A971-4EEA-8EA0-FC136A9398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65323" y="2890480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Untertitel / Kernaussage (maximal 2 Zeilen)</a:t>
            </a:r>
            <a:endParaRPr lang="de-DE"/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3C4B6533-F956-4079-A2E1-4B3BB528B5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5323" y="1268928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itel</a:t>
            </a:r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37A32FF1-CE0E-4FAE-A37E-3D84958811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65323" y="3768436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</a:p>
        </p:txBody>
      </p:sp>
    </p:spTree>
    <p:extLst>
      <p:ext uri="{BB962C8B-B14F-4D97-AF65-F5344CB8AC3E}">
        <p14:creationId xmlns:p14="http://schemas.microsoft.com/office/powerpoint/2010/main" val="27301467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- Bild rechts - rot auf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8F130A60-EFEC-4350-84D7-65D4E4F1CD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0400" y="1435371"/>
            <a:ext cx="168000" cy="49818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Öffentlich, Intern, Vertraulich, Streng vertraulich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D1E8D867-8C9A-42BE-B822-534F5876FC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400" y="6475200"/>
            <a:ext cx="168000" cy="38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F1ECC909-420A-4656-AB30-229C210B80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0998" y="2888608"/>
            <a:ext cx="3975204" cy="683444"/>
          </a:xfrm>
          <a:noFill/>
        </p:spPr>
        <p:txBody>
          <a:bodyPr anchor="t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20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Untertitel / Kernaussage (maximal 2 Zeilen)</a:t>
            </a:r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Titel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Fließtex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0105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3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999" y="345600"/>
            <a:ext cx="5049535" cy="67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48001" y="1435101"/>
            <a:ext cx="6578831" cy="50419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BB02B2D4-EDED-4EBA-A037-2A60138496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080000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692F48-4493-445C-9108-968C77A67E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1249" y="185649"/>
            <a:ext cx="1761600" cy="188872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2EFC17-299E-48B8-A427-04E56E5465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C8D08B-7D91-4E2F-8D19-AB173B6698B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7609243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3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374D5E61-6B90-446B-96C3-4612853F6B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12905" y="0"/>
            <a:ext cx="4080000" cy="6858000"/>
          </a:xfrm>
          <a:noFill/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9F041E5-830E-4DA5-8BC2-3F1A0F6B407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68001" y="1435101"/>
            <a:ext cx="6576905" cy="50401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C835318-1038-48F9-A3AE-1407B519F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999" y="345600"/>
            <a:ext cx="6576000" cy="67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CED952-0414-4B39-BD89-0B466518FC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0400" y="1435371"/>
            <a:ext cx="168000" cy="4981819"/>
          </a:xfrm>
        </p:spPr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3B6590-8652-4681-86B5-FF4670434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6780698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2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99E84DF-34AB-4811-8B65-2F1C262953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6252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99E84DF-34AB-4811-8B65-2F1C26295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5454" y="345600"/>
            <a:ext cx="3432080" cy="672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65454" y="1435101"/>
            <a:ext cx="4961377" cy="50419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BB02B2D4-EDED-4EBA-A037-2A60138496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692F48-4493-445C-9108-968C77A67ED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1249" y="185649"/>
            <a:ext cx="1761600" cy="188872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2EFC17-299E-48B8-A427-04E56E54655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C8D08B-7D91-4E2F-8D19-AB173B6698B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6911326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- 1/2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6601F67-B9E8-44CE-8BF2-5ABE5725A5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1808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6601F67-B9E8-44CE-8BF2-5ABE5725A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374D5E61-6B90-446B-96C3-4612853F6B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905" cy="6858000"/>
          </a:xfrm>
          <a:noFill/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9F041E5-830E-4DA5-8BC2-3F1A0F6B407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68001" y="1435101"/>
            <a:ext cx="4977017" cy="5040100"/>
          </a:xfrm>
          <a:noFill/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/>
            </a:lvl1pPr>
            <a:lvl2pPr>
              <a:lnSpc>
                <a:spcPct val="100000"/>
              </a:lnSpc>
              <a:spcBef>
                <a:spcPts val="800"/>
              </a:spcBef>
              <a:defRPr/>
            </a:lvl2pPr>
            <a:lvl3pPr>
              <a:lnSpc>
                <a:spcPct val="100000"/>
              </a:lnSpc>
              <a:spcBef>
                <a:spcPts val="800"/>
              </a:spcBef>
              <a:defRPr/>
            </a:lvl3pPr>
            <a:lvl4pPr>
              <a:lnSpc>
                <a:spcPct val="100000"/>
              </a:lnSpc>
              <a:spcBef>
                <a:spcPts val="800"/>
              </a:spcBef>
              <a:defRPr/>
            </a:lvl4pPr>
            <a:lvl5pPr>
              <a:lnSpc>
                <a:spcPct val="100000"/>
              </a:lnSpc>
              <a:spcBef>
                <a:spcPts val="800"/>
              </a:spcBef>
              <a:defRPr/>
            </a:lvl5pPr>
            <a:lvl6pPr>
              <a:lnSpc>
                <a:spcPct val="100000"/>
              </a:lnSpc>
              <a:spcBef>
                <a:spcPts val="800"/>
              </a:spcBef>
              <a:defRPr/>
            </a:lvl6pPr>
            <a:lvl7pPr>
              <a:lnSpc>
                <a:spcPct val="100000"/>
              </a:lnSpc>
              <a:spcBef>
                <a:spcPts val="800"/>
              </a:spcBef>
              <a:defRPr/>
            </a:lvl7pPr>
            <a:lvl8pPr>
              <a:lnSpc>
                <a:spcPct val="100000"/>
              </a:lnSpc>
              <a:spcBef>
                <a:spcPts val="800"/>
              </a:spcBef>
              <a:defRPr/>
            </a:lvl8pPr>
            <a:lvl9pPr>
              <a:lnSpc>
                <a:spcPct val="100000"/>
              </a:lnSpc>
              <a:spcBef>
                <a:spcPts val="800"/>
              </a:spcBef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C835318-1038-48F9-A3AE-1407B519F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999" y="345600"/>
            <a:ext cx="4976332" cy="672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CED952-0414-4B39-BD89-0B466518FC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0400" y="1435371"/>
            <a:ext cx="168000" cy="4981819"/>
          </a:xfrm>
        </p:spPr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3B6590-8652-4681-86B5-FF46704346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400" y="6475200"/>
            <a:ext cx="168000" cy="382800"/>
          </a:xfrm>
        </p:spPr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40292058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klein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497" y="1435100"/>
            <a:ext cx="6280504" cy="50352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FC33F02-EE23-484A-B860-42A21899D2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55C9A63-1B02-4DD6-A618-8D8CEFB2F6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9F2B135F-B55C-4A14-B94A-854ED67A28F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800" y="1436399"/>
            <a:ext cx="3567600" cy="5040000"/>
          </a:xfrm>
          <a:noFill/>
          <a:ln w="19050">
            <a:noFill/>
          </a:ln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1693751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61460CD6-1A9D-4761-A542-CC2B8B7C73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800" y="1436400"/>
            <a:ext cx="10663200" cy="5043600"/>
          </a:xfrm>
          <a:noFill/>
          <a:ln w="19050">
            <a:noFill/>
          </a:ln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0432451-7873-4713-A8B5-A716C8B5C442}"/>
              </a:ext>
            </a:extLst>
          </p:cNvPr>
          <p:cNvSpPr>
            <a:spLocks noGrp="1" noChangeAspect="1"/>
          </p:cNvSpPr>
          <p:nvPr>
            <p:ph type="subTitle" idx="14" hasCustomPrompt="1"/>
          </p:nvPr>
        </p:nvSpPr>
        <p:spPr>
          <a:xfrm>
            <a:off x="1344000" y="4518000"/>
            <a:ext cx="2340000" cy="2340000"/>
          </a:xfrm>
          <a:solidFill>
            <a:srgbClr val="CF0027"/>
          </a:solidFill>
        </p:spPr>
        <p:txBody>
          <a:bodyPr lIns="180000" tIns="108000" rIns="180000"/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2pPr>
            <a:lvl3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3pPr>
            <a:lvl4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4pPr>
            <a:lvl5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5pPr>
            <a:lvl6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6pPr>
            <a:lvl7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7pPr>
            <a:lvl8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8pPr>
            <a:lvl9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7F002CA-FE7A-4491-92CA-72F5FD820C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F85B7A-F34D-4F17-ACA8-EEF35BD61A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8042022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flächiges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61460CD6-1A9D-4761-A542-CC2B8B7C73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  <a:ln w="19050">
            <a:noFill/>
          </a:ln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7126FE0-81BF-4F7C-BA01-067157BFE4D4}"/>
              </a:ext>
            </a:extLst>
          </p:cNvPr>
          <p:cNvSpPr>
            <a:spLocks noGrp="1" noChangeAspect="1"/>
          </p:cNvSpPr>
          <p:nvPr>
            <p:ph type="subTitle" idx="14" hasCustomPrompt="1"/>
          </p:nvPr>
        </p:nvSpPr>
        <p:spPr>
          <a:xfrm>
            <a:off x="1344000" y="4518000"/>
            <a:ext cx="2340000" cy="2340000"/>
          </a:xfrm>
          <a:solidFill>
            <a:srgbClr val="CF0027"/>
          </a:solidFill>
        </p:spPr>
        <p:txBody>
          <a:bodyPr lIns="180000" tIns="108000" rIns="180000"/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2pPr>
            <a:lvl3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3pPr>
            <a:lvl4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4pPr>
            <a:lvl5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5pPr>
            <a:lvl6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6pPr>
            <a:lvl7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7pPr>
            <a:lvl8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8pPr>
            <a:lvl9pPr marL="0" indent="0" algn="l">
              <a:lnSpc>
                <a:spcPct val="150000"/>
              </a:lnSpc>
              <a:spcBef>
                <a:spcPts val="1333"/>
              </a:spcBef>
              <a:buNone/>
              <a:defRPr sz="1333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40674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lange Agenda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C8806BA8-FA42-446D-A2DE-20D26668E129}"/>
              </a:ext>
            </a:extLst>
          </p:cNvPr>
          <p:cNvSpPr/>
          <p:nvPr userDrawn="1"/>
        </p:nvSpPr>
        <p:spPr>
          <a:xfrm>
            <a:off x="4128655" y="0"/>
            <a:ext cx="8063344" cy="6859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0BABB508-1F9A-4ED4-A2F4-0F0370AD8300}"/>
              </a:ext>
            </a:extLst>
          </p:cNvPr>
          <p:cNvSpPr>
            <a:spLocks noChangeAspect="1"/>
          </p:cNvSpPr>
          <p:nvPr userDrawn="1"/>
        </p:nvSpPr>
        <p:spPr>
          <a:xfrm>
            <a:off x="771518" y="3037862"/>
            <a:ext cx="1295419" cy="1296014"/>
          </a:xfrm>
          <a:custGeom>
            <a:avLst/>
            <a:gdLst/>
            <a:ahLst/>
            <a:cxnLst/>
            <a:rect l="l" t="t" r="r" b="b"/>
            <a:pathLst>
              <a:path w="6628130" h="6601459">
                <a:moveTo>
                  <a:pt x="6628070" y="0"/>
                </a:moveTo>
                <a:lnTo>
                  <a:pt x="0" y="0"/>
                </a:lnTo>
                <a:lnTo>
                  <a:pt x="0" y="6601181"/>
                </a:lnTo>
                <a:lnTo>
                  <a:pt x="6628070" y="6601181"/>
                </a:lnTo>
                <a:lnTo>
                  <a:pt x="6628070" y="0"/>
                </a:lnTo>
                <a:close/>
              </a:path>
            </a:pathLst>
          </a:custGeom>
          <a:solidFill>
            <a:srgbClr val="CF0027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1351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C41188AE-038A-4297-A4AE-821DB316A7E2}"/>
              </a:ext>
            </a:extLst>
          </p:cNvPr>
          <p:cNvSpPr txBox="1"/>
          <p:nvPr userDrawn="1"/>
        </p:nvSpPr>
        <p:spPr>
          <a:xfrm>
            <a:off x="762000" y="1294886"/>
            <a:ext cx="3366655" cy="2852320"/>
          </a:xfrm>
          <a:prstGeom prst="rect">
            <a:avLst/>
          </a:prstGeom>
        </p:spPr>
        <p:txBody>
          <a:bodyPr vert="horz" wrap="square" lIns="0" tIns="13971" rIns="0" bIns="0" rtlCol="0">
            <a:spAutoFit/>
          </a:bodyPr>
          <a:lstStyle/>
          <a:p>
            <a:pPr marL="12700">
              <a:spcBef>
                <a:spcPts val="111"/>
              </a:spcBef>
            </a:pPr>
            <a:r>
              <a:rPr lang="de-DE" sz="4800" b="1" spc="300">
                <a:cs typeface="Arial Black" panose="020B0604020202020204" pitchFamily="34" charset="0"/>
              </a:rPr>
              <a:t>WAS</a:t>
            </a:r>
          </a:p>
          <a:p>
            <a:pPr marL="12700">
              <a:spcBef>
                <a:spcPts val="111"/>
              </a:spcBef>
            </a:pPr>
            <a:r>
              <a:rPr lang="de-DE" sz="4800" b="1" spc="300">
                <a:cs typeface="Arial Black" panose="020B0604020202020204" pitchFamily="34" charset="0"/>
              </a:rPr>
              <a:t>KOMMT</a:t>
            </a:r>
          </a:p>
          <a:p>
            <a:pPr marL="12700">
              <a:lnSpc>
                <a:spcPct val="150000"/>
              </a:lnSpc>
              <a:spcBef>
                <a:spcPts val="111"/>
              </a:spcBef>
            </a:pPr>
            <a:r>
              <a:rPr lang="de-DE" sz="6600" b="1" spc="300">
                <a:cs typeface="Arial Black" panose="020B0604020202020204" pitchFamily="34" charset="0"/>
              </a:rPr>
              <a:t> </a:t>
            </a:r>
            <a:r>
              <a:rPr lang="de-DE" sz="4800" b="1" spc="300">
                <a:cs typeface="Arial Black" panose="020B0604020202020204" pitchFamily="34" charset="0"/>
              </a:rPr>
              <a:t>JETZT?</a:t>
            </a:r>
            <a:endParaRPr lang="de-DE" sz="6600" b="1" spc="300">
              <a:cs typeface="Arial Black" panose="020B060402020202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D91CC83-99C4-41A2-AB8C-F2FCC6E6CE14}"/>
              </a:ext>
            </a:extLst>
          </p:cNvPr>
          <p:cNvSpPr txBox="1"/>
          <p:nvPr userDrawn="1"/>
        </p:nvSpPr>
        <p:spPr>
          <a:xfrm>
            <a:off x="2309813" y="3013074"/>
            <a:ext cx="141403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cap="all" baseline="0"/>
              <a:t>Eigentlich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3EA0338-C318-482F-98C1-9DDED107C8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Öffent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EBA1DD31-CD81-40B0-BE9E-98FBC944EF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563624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z - 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2199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8086725" cy="6857999"/>
          </a:xfrm>
          <a:noFill/>
        </p:spPr>
        <p:txBody>
          <a:bodyPr bIns="72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C333949-C356-44C1-ABDC-A0C9DAE647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999" y="844077"/>
            <a:ext cx="7318726" cy="1969770"/>
          </a:xfrm>
          <a:noFill/>
        </p:spPr>
        <p:txBody>
          <a:bodyPr vert="horz" wrap="square" anchor="t">
            <a:spAutoFit/>
          </a:bodyPr>
          <a:lstStyle>
            <a:lvl1pPr>
              <a:defRPr sz="64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Wenn aus</a:t>
            </a:r>
            <a:br>
              <a:rPr lang="de-DE"/>
            </a:br>
            <a:r>
              <a:rPr lang="de-DE"/>
              <a:t>xxx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6DA2027C-3E5D-4FA4-9E48-34D3F38757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765" y="1028701"/>
            <a:ext cx="2793706" cy="31242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sz="1400" noProof="0" dirty="0">
                <a:solidFill>
                  <a:schemeClr val="tx1"/>
                </a:solidFill>
              </a:defRPr>
            </a:lvl1pPr>
            <a:lvl2pPr>
              <a:defRPr lang="de-DE" sz="1200" noProof="0" dirty="0"/>
            </a:lvl2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e-DE" noProof="0"/>
              <a:t>Mastertextformat bearbeite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noProof="0"/>
              <a:t>Zweite Eben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de-DE" noProof="0"/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468C93E7-A23E-4F58-A115-EDE41DA8E47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358063" y="4584715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/>
              <a:t>Kunden-Logo</a:t>
            </a:r>
            <a:br>
              <a:rPr lang="de-DE"/>
            </a:br>
            <a:r>
              <a:rPr lang="de-DE"/>
              <a:t>(optional)</a:t>
            </a:r>
          </a:p>
          <a:p>
            <a:pPr lvl="0"/>
            <a:br>
              <a:rPr lang="de-DE"/>
            </a:br>
            <a:br>
              <a:rPr lang="de-DE"/>
            </a:b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5981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z - Mitt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312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9">
            <a:extLst>
              <a:ext uri="{FF2B5EF4-FFF2-40B4-BE49-F238E27FC236}">
                <a16:creationId xmlns:a16="http://schemas.microsoft.com/office/drawing/2014/main" id="{9F41F52B-5329-47FF-AD72-4691D02D57E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90975" y="0"/>
            <a:ext cx="4099526" cy="6858000"/>
          </a:xfrm>
          <a:noFill/>
        </p:spPr>
        <p:txBody>
          <a:bodyPr bIns="72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  <p:sp>
        <p:nvSpPr>
          <p:cNvPr id="8" name="Titel 5">
            <a:extLst>
              <a:ext uri="{FF2B5EF4-FFF2-40B4-BE49-F238E27FC236}">
                <a16:creationId xmlns:a16="http://schemas.microsoft.com/office/drawing/2014/main" id="{FAC85235-891C-4166-85BD-0A612CCE6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844077"/>
            <a:ext cx="7322501" cy="1969770"/>
          </a:xfrm>
          <a:noFill/>
        </p:spPr>
        <p:txBody>
          <a:bodyPr vert="horz" wrap="square" anchor="t">
            <a:spAutoFit/>
          </a:bodyPr>
          <a:lstStyle>
            <a:lvl1pPr>
              <a:defRPr sz="64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Wenn aus</a:t>
            </a:r>
            <a:br>
              <a:rPr lang="de-DE"/>
            </a:br>
            <a:r>
              <a:rPr lang="de-DE"/>
              <a:t>xxx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45B7A17-0CDC-4BEA-8CA4-7E787D0D7B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765" y="1028701"/>
            <a:ext cx="2793706" cy="31242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sz="1400" noProof="0" dirty="0">
                <a:solidFill>
                  <a:schemeClr val="tx1"/>
                </a:solidFill>
              </a:defRPr>
            </a:lvl1pPr>
            <a:lvl2pPr>
              <a:defRPr lang="de-DE" sz="1200" noProof="0" dirty="0"/>
            </a:lvl2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e-DE" noProof="0"/>
              <a:t>Mastertextformat bearbeite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noProof="0"/>
              <a:t>Zweite Eben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de-DE" noProof="0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3E636B04-B5F7-4D65-A574-357F722D188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358063" y="4584715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/>
              <a:t>Kunden-Logo</a:t>
            </a:r>
            <a:br>
              <a:rPr lang="de-DE"/>
            </a:br>
            <a:r>
              <a:rPr lang="de-DE"/>
              <a:t>(optional)</a:t>
            </a:r>
          </a:p>
          <a:p>
            <a:pPr lvl="0"/>
            <a:br>
              <a:rPr lang="de-DE"/>
            </a:br>
            <a:br>
              <a:rPr lang="de-DE"/>
            </a:b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2795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z - Bild links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B12665-BECF-4BAD-9EA7-0C1F056FE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9055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B12665-BECF-4BAD-9EA7-0C1F056FE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9">
            <a:extLst>
              <a:ext uri="{FF2B5EF4-FFF2-40B4-BE49-F238E27FC236}">
                <a16:creationId xmlns:a16="http://schemas.microsoft.com/office/drawing/2014/main" id="{BC8B63E5-6468-4D17-AEE7-8FDF77D61BF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818000"/>
            <a:ext cx="8086725" cy="5040000"/>
          </a:xfrm>
          <a:noFill/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C333949-C356-44C1-ABDC-A0C9DAE647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323674"/>
            <a:ext cx="7318725" cy="1969770"/>
          </a:xfrm>
          <a:noFill/>
        </p:spPr>
        <p:txBody>
          <a:bodyPr vert="horz" wrap="square" anchor="t">
            <a:spAutoFit/>
          </a:bodyPr>
          <a:lstStyle>
            <a:lvl1pPr>
              <a:defRPr sz="64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Wenn aus</a:t>
            </a:r>
            <a:br>
              <a:rPr lang="de-DE"/>
            </a:br>
            <a:r>
              <a:rPr lang="de-DE"/>
              <a:t>xxx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4F89B5F0-C924-45EC-88E6-3D4D385EE6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765" y="1028701"/>
            <a:ext cx="2793706" cy="31242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de-DE" sz="1400" noProof="0" dirty="0">
                <a:solidFill>
                  <a:schemeClr val="tx1"/>
                </a:solidFill>
              </a:defRPr>
            </a:lvl1pPr>
            <a:lvl2pPr>
              <a:defRPr lang="de-DE" sz="1200" noProof="0" dirty="0"/>
            </a:lvl2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e-DE" noProof="0"/>
              <a:t>Mastertextformat bearbeite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noProof="0"/>
              <a:t>Zweite Eben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de-DE" noProof="0"/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1F472E04-D23E-4EB7-8E05-839F057ACEC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358063" y="4584715"/>
            <a:ext cx="1080000" cy="900000"/>
          </a:xfrm>
        </p:spPr>
        <p:txBody>
          <a:bodyPr anchor="b"/>
          <a:lstStyle>
            <a:lvl1pPr marL="0" algn="r">
              <a:spcBef>
                <a:spcPts val="0"/>
              </a:spcBef>
              <a:buFontTx/>
              <a:buNone/>
              <a:defRPr sz="1200" b="0"/>
            </a:lvl1pPr>
            <a:lvl2pPr marL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de-DE"/>
              <a:t>Kunden-Logo</a:t>
            </a:r>
            <a:br>
              <a:rPr lang="de-DE"/>
            </a:br>
            <a:r>
              <a:rPr lang="de-DE"/>
              <a:t>(optional)</a:t>
            </a:r>
          </a:p>
          <a:p>
            <a:pPr lvl="0"/>
            <a:br>
              <a:rPr lang="de-DE"/>
            </a:br>
            <a:br>
              <a:rPr lang="de-DE"/>
            </a:b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54100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t -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7805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768000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60998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Vorname</a:t>
            </a:r>
            <a:br>
              <a:rPr lang="de-DE" noProof="0"/>
            </a:br>
            <a:r>
              <a:rPr lang="de-DE" noProof="0"/>
              <a:t>Nachname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60998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&lt;Position&gt;</a:t>
            </a:r>
          </a:p>
          <a:p>
            <a:pPr lvl="0"/>
            <a:r>
              <a:rPr lang="de-DE" noProof="0"/>
              <a:t>Tel.: &lt;Handynummer&gt;</a:t>
            </a:r>
          </a:p>
          <a:p>
            <a:pPr lvl="0"/>
            <a:r>
              <a:rPr lang="de-DE" noProof="0"/>
              <a:t>&lt;email-Adresse&gt;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4498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t -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4EE8C9A-11B2-435E-BD37-9851B414F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8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4EE8C9A-11B2-435E-BD37-9851B414F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8C8809A-997A-4C50-A5F9-A766E19121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4195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11C034-315F-4040-9E16-D0CDA7CBE778}"/>
              </a:ext>
            </a:extLst>
          </p:cNvPr>
          <p:cNvSpPr/>
          <p:nvPr userDrawn="1"/>
        </p:nvSpPr>
        <p:spPr>
          <a:xfrm>
            <a:off x="6882472" y="1026000"/>
            <a:ext cx="4561200" cy="4561200"/>
          </a:xfrm>
          <a:prstGeom prst="rect">
            <a:avLst/>
          </a:prstGeom>
          <a:solidFill>
            <a:srgbClr val="CF00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id="{1E131E5C-29B3-4FF6-B6BA-20909569BB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5470" y="1267056"/>
            <a:ext cx="3975204" cy="1427041"/>
          </a:xfrm>
          <a:noFill/>
        </p:spPr>
        <p:txBody>
          <a:bodyPr anchor="b"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4800" b="1" cap="all" baseline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r>
              <a:rPr lang="de-DE" noProof="0"/>
              <a:t>Vorname</a:t>
            </a:r>
            <a:br>
              <a:rPr lang="de-DE" noProof="0"/>
            </a:br>
            <a:r>
              <a:rPr lang="de-DE" noProof="0"/>
              <a:t>Nachname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92C009C9-86B3-4A02-902B-E1354B8381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75470" y="3766564"/>
            <a:ext cx="3975204" cy="1524000"/>
          </a:xfrm>
          <a:noFill/>
        </p:spPr>
        <p:txBody>
          <a:bodyPr anchor="b"/>
          <a:lstStyle>
            <a:lvl1pPr marL="0">
              <a:lnSpc>
                <a:spcPct val="150000"/>
              </a:lnSpc>
              <a:spcBef>
                <a:spcPts val="600"/>
              </a:spcBef>
              <a:buFontTx/>
              <a:buNone/>
              <a:tabLst>
                <a:tab pos="599002" algn="l"/>
              </a:tabLst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599002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6pPr>
            <a:lvl7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7pPr>
            <a:lvl8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8pPr>
            <a:lvl9pPr marL="0" indent="0">
              <a:spcBef>
                <a:spcPts val="0"/>
              </a:spcBef>
              <a:buFontTx/>
              <a:buNone/>
              <a:tabLst>
                <a:tab pos="599002" algn="l"/>
              </a:tabLst>
              <a:defRPr/>
            </a:lvl9pPr>
          </a:lstStyle>
          <a:p>
            <a:pPr lvl="0"/>
            <a:r>
              <a:rPr lang="de-DE" noProof="0"/>
              <a:t>Personenangab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2719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o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630373B-F9F0-4DF0-B51C-C0DA99D9AC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868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630373B-F9F0-4DF0-B51C-C0DA99D9AC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B3A9D8B-8DB9-4FDA-A986-F21F95AB1E2B}"/>
              </a:ext>
            </a:extLst>
          </p:cNvPr>
          <p:cNvGrpSpPr/>
          <p:nvPr userDrawn="1"/>
        </p:nvGrpSpPr>
        <p:grpSpPr>
          <a:xfrm>
            <a:off x="0" y="1"/>
            <a:ext cx="12192000" cy="6858001"/>
            <a:chOff x="-178916" y="-1"/>
            <a:chExt cx="7567629" cy="5143501"/>
          </a:xfrm>
        </p:grpSpPr>
        <p:sp>
          <p:nvSpPr>
            <p:cNvPr id="7" name="object 2">
              <a:extLst>
                <a:ext uri="{FF2B5EF4-FFF2-40B4-BE49-F238E27FC236}">
                  <a16:creationId xmlns:a16="http://schemas.microsoft.com/office/drawing/2014/main" id="{0A518ED2-8BA0-4110-9436-FAD7AAC05A56}"/>
                </a:ext>
              </a:extLst>
            </p:cNvPr>
            <p:cNvSpPr/>
            <p:nvPr/>
          </p:nvSpPr>
          <p:spPr>
            <a:xfrm>
              <a:off x="2343849" y="0"/>
              <a:ext cx="2522432" cy="5143500"/>
            </a:xfrm>
            <a:custGeom>
              <a:avLst/>
              <a:gdLst/>
              <a:ahLst/>
              <a:cxnLst/>
              <a:rect l="l" t="t" r="r" b="b"/>
              <a:pathLst>
                <a:path w="10052050" h="11308715">
                  <a:moveTo>
                    <a:pt x="0" y="11308556"/>
                  </a:moveTo>
                  <a:lnTo>
                    <a:pt x="10052049" y="11308556"/>
                  </a:lnTo>
                  <a:lnTo>
                    <a:pt x="10052049" y="0"/>
                  </a:lnTo>
                  <a:lnTo>
                    <a:pt x="0" y="0"/>
                  </a:lnTo>
                  <a:lnTo>
                    <a:pt x="0" y="11308556"/>
                  </a:lnTo>
                  <a:close/>
                </a:path>
              </a:pathLst>
            </a:custGeom>
            <a:solidFill>
              <a:srgbClr val="E4002B"/>
            </a:solidFill>
          </p:spPr>
          <p:txBody>
            <a:bodyPr wrap="square" lIns="0" tIns="0" rIns="0" bIns="0" rtlCol="0"/>
            <a:lstStyle/>
            <a:p>
              <a:endParaRPr sz="3200"/>
            </a:p>
          </p:txBody>
        </p:sp>
        <p:sp>
          <p:nvSpPr>
            <p:cNvPr id="8" name="object 2">
              <a:extLst>
                <a:ext uri="{FF2B5EF4-FFF2-40B4-BE49-F238E27FC236}">
                  <a16:creationId xmlns:a16="http://schemas.microsoft.com/office/drawing/2014/main" id="{BB2A9C95-46BB-41D7-B14D-6AA7A0666191}"/>
                </a:ext>
              </a:extLst>
            </p:cNvPr>
            <p:cNvSpPr/>
            <p:nvPr/>
          </p:nvSpPr>
          <p:spPr>
            <a:xfrm>
              <a:off x="-178916" y="0"/>
              <a:ext cx="2522432" cy="5143500"/>
            </a:xfrm>
            <a:custGeom>
              <a:avLst/>
              <a:gdLst/>
              <a:ahLst/>
              <a:cxnLst/>
              <a:rect l="l" t="t" r="r" b="b"/>
              <a:pathLst>
                <a:path w="10052050" h="11308715">
                  <a:moveTo>
                    <a:pt x="0" y="11308556"/>
                  </a:moveTo>
                  <a:lnTo>
                    <a:pt x="10052049" y="11308556"/>
                  </a:lnTo>
                  <a:lnTo>
                    <a:pt x="10052049" y="0"/>
                  </a:lnTo>
                  <a:lnTo>
                    <a:pt x="0" y="0"/>
                  </a:lnTo>
                  <a:lnTo>
                    <a:pt x="0" y="11308556"/>
                  </a:lnTo>
                  <a:close/>
                </a:path>
              </a:pathLst>
            </a:custGeom>
            <a:solidFill>
              <a:schemeClr val="tx1"/>
            </a:solidFill>
          </p:spPr>
          <p:txBody>
            <a:bodyPr wrap="square" lIns="0" tIns="0" rIns="0" bIns="0" rtlCol="0"/>
            <a:lstStyle/>
            <a:p>
              <a:endParaRPr sz="3200"/>
            </a:p>
          </p:txBody>
        </p:sp>
        <p:sp>
          <p:nvSpPr>
            <p:cNvPr id="9" name="object 2">
              <a:extLst>
                <a:ext uri="{FF2B5EF4-FFF2-40B4-BE49-F238E27FC236}">
                  <a16:creationId xmlns:a16="http://schemas.microsoft.com/office/drawing/2014/main" id="{154BDCAB-D0C6-4FA4-8CD7-A649F84E3A7D}"/>
                </a:ext>
              </a:extLst>
            </p:cNvPr>
            <p:cNvSpPr/>
            <p:nvPr/>
          </p:nvSpPr>
          <p:spPr>
            <a:xfrm>
              <a:off x="4866281" y="-1"/>
              <a:ext cx="2522432" cy="5143500"/>
            </a:xfrm>
            <a:custGeom>
              <a:avLst/>
              <a:gdLst/>
              <a:ahLst/>
              <a:cxnLst/>
              <a:rect l="l" t="t" r="r" b="b"/>
              <a:pathLst>
                <a:path w="10052050" h="11308715">
                  <a:moveTo>
                    <a:pt x="0" y="11308556"/>
                  </a:moveTo>
                  <a:lnTo>
                    <a:pt x="10052049" y="11308556"/>
                  </a:lnTo>
                  <a:lnTo>
                    <a:pt x="10052049" y="0"/>
                  </a:lnTo>
                  <a:lnTo>
                    <a:pt x="0" y="0"/>
                  </a:lnTo>
                  <a:lnTo>
                    <a:pt x="0" y="11308556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endParaRPr sz="3200"/>
            </a:p>
          </p:txBody>
        </p:sp>
      </p:grpSp>
      <p:sp>
        <p:nvSpPr>
          <p:cNvPr id="18" name="Rechteck 17">
            <a:extLst>
              <a:ext uri="{FF2B5EF4-FFF2-40B4-BE49-F238E27FC236}">
                <a16:creationId xmlns:a16="http://schemas.microsoft.com/office/drawing/2014/main" id="{E50AE779-7598-42AB-A6BA-C2EF767EDAE7}"/>
              </a:ext>
            </a:extLst>
          </p:cNvPr>
          <p:cNvSpPr/>
          <p:nvPr userDrawn="1"/>
        </p:nvSpPr>
        <p:spPr>
          <a:xfrm>
            <a:off x="8884916" y="2289544"/>
            <a:ext cx="229467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>
                <a:solidFill>
                  <a:srgbClr val="EA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/o The </a:t>
            </a:r>
            <a:r>
              <a:rPr lang="de-DE" sz="1600" err="1">
                <a:solidFill>
                  <a:srgbClr val="EA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y</a:t>
            </a:r>
            <a:br>
              <a:rPr lang="de-DE" sz="1600">
                <a:solidFill>
                  <a:srgbClr val="EA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err="1">
                <a:solidFill>
                  <a:srgbClr val="EA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endorfer</a:t>
            </a:r>
            <a:r>
              <a:rPr lang="de-DE" sz="1600">
                <a:solidFill>
                  <a:srgbClr val="EA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mm 1</a:t>
            </a:r>
            <a:br>
              <a:rPr lang="de-DE" sz="1600">
                <a:solidFill>
                  <a:srgbClr val="EA002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>
                <a:solidFill>
                  <a:srgbClr val="EA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99 Berlin</a:t>
            </a:r>
          </a:p>
          <a:p>
            <a:endParaRPr lang="de-DE" sz="1600">
              <a:solidFill>
                <a:srgbClr val="EA00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>
                <a:solidFill>
                  <a:srgbClr val="EA00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49 30 4036 7627-0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7AD9A70-0A21-40E9-9DE5-14CCE51B36CD}"/>
              </a:ext>
            </a:extLst>
          </p:cNvPr>
          <p:cNvSpPr/>
          <p:nvPr userDrawn="1"/>
        </p:nvSpPr>
        <p:spPr>
          <a:xfrm>
            <a:off x="353417" y="3393347"/>
            <a:ext cx="31379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chard-Reitzner-Allee 1</a:t>
            </a:r>
            <a:b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5540 Haar / München</a:t>
            </a:r>
          </a:p>
          <a:p>
            <a:endParaRPr lang="de-DE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49 89 856 33 33-0</a:t>
            </a:r>
          </a:p>
        </p:txBody>
      </p:sp>
      <p:sp>
        <p:nvSpPr>
          <p:cNvPr id="21" name="object 4">
            <a:extLst>
              <a:ext uri="{FF2B5EF4-FFF2-40B4-BE49-F238E27FC236}">
                <a16:creationId xmlns:a16="http://schemas.microsoft.com/office/drawing/2014/main" id="{1D52A33C-B142-48E3-8FC8-C69FF2FF6310}"/>
              </a:ext>
            </a:extLst>
          </p:cNvPr>
          <p:cNvSpPr txBox="1"/>
          <p:nvPr userDrawn="1"/>
        </p:nvSpPr>
        <p:spPr>
          <a:xfrm>
            <a:off x="335055" y="2810907"/>
            <a:ext cx="3335099" cy="59326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algn="ctr">
              <a:spcBef>
                <a:spcPts val="147"/>
              </a:spcBef>
            </a:pPr>
            <a:r>
              <a:rPr lang="de-DE" sz="3733" b="1" spc="40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MÜNCHEN</a:t>
            </a: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D0ED5F1C-A811-4339-B715-775D70EEA1AE}"/>
              </a:ext>
            </a:extLst>
          </p:cNvPr>
          <p:cNvSpPr txBox="1"/>
          <p:nvPr userDrawn="1"/>
        </p:nvSpPr>
        <p:spPr>
          <a:xfrm>
            <a:off x="4199273" y="4123524"/>
            <a:ext cx="3838939" cy="59326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algn="ctr">
              <a:spcBef>
                <a:spcPts val="147"/>
              </a:spcBef>
            </a:pPr>
            <a:r>
              <a:rPr lang="de-DE" sz="3733" b="1" spc="400">
                <a:latin typeface="Arial Black" panose="020B0604020202020204" pitchFamily="34" charset="0"/>
                <a:cs typeface="Arial Black" panose="020B0604020202020204" pitchFamily="34" charset="0"/>
              </a:rPr>
              <a:t>STUTTGAR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D887639-4E12-49EF-83D2-D087AA4D7D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1341" y="141774"/>
            <a:ext cx="2348887" cy="535189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759A5BDA-5E5D-496D-95EF-B4E16183BE82}"/>
              </a:ext>
            </a:extLst>
          </p:cNvPr>
          <p:cNvSpPr/>
          <p:nvPr userDrawn="1"/>
        </p:nvSpPr>
        <p:spPr>
          <a:xfrm>
            <a:off x="4187853" y="4673308"/>
            <a:ext cx="369229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Industriestraße 48</a:t>
            </a:r>
            <a:b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70565 Stuttgart</a:t>
            </a:r>
          </a:p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+49 711 508 718-0</a:t>
            </a: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4842D1C0-04A7-4795-88D6-BF4D7C86DD72}"/>
              </a:ext>
            </a:extLst>
          </p:cNvPr>
          <p:cNvSpPr txBox="1"/>
          <p:nvPr userDrawn="1"/>
        </p:nvSpPr>
        <p:spPr>
          <a:xfrm>
            <a:off x="8743395" y="1729604"/>
            <a:ext cx="2775415" cy="59326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algn="ctr">
              <a:spcBef>
                <a:spcPts val="147"/>
              </a:spcBef>
            </a:pPr>
            <a:r>
              <a:rPr lang="de-DE" sz="3733" b="1" spc="400">
                <a:solidFill>
                  <a:srgbClr val="EA0029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BERLIN</a:t>
            </a:r>
          </a:p>
        </p:txBody>
      </p:sp>
    </p:spTree>
    <p:extLst>
      <p:ext uri="{BB962C8B-B14F-4D97-AF65-F5344CB8AC3E}">
        <p14:creationId xmlns:p14="http://schemas.microsoft.com/office/powerpoint/2010/main" val="15325356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F1CF539-203C-476D-82E7-6258DB6A0B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34000" y="0"/>
            <a:ext cx="6858000" cy="6858000"/>
          </a:xfrm>
        </p:spPr>
        <p:txBody>
          <a:bodyPr bIns="720000" anchor="ctr"/>
          <a:lstStyle>
            <a:lvl1pPr algn="ctr">
              <a:defRPr/>
            </a:lvl1pPr>
          </a:lstStyle>
          <a:p>
            <a:endParaRPr lang="de-DE" noProof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EC10922-7909-47A9-A097-5F71D1BC7D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8000" y="1037401"/>
            <a:ext cx="4099275" cy="1056000"/>
          </a:xfrm>
          <a:noFill/>
        </p:spPr>
        <p:txBody>
          <a:bodyPr lIns="0" tIns="0" r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3733" cap="none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</a:t>
            </a:r>
          </a:p>
          <a:p>
            <a:pPr lvl="1"/>
            <a:r>
              <a:rPr lang="de-DE" noProof="0"/>
              <a:t>Zweite Ebe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A56AF00-8E35-45E3-A351-E1DC9A53A3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624" y="3689195"/>
            <a:ext cx="2736000" cy="29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908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A2FB1F-2A79-4157-BE06-0069241BDC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D25777-B006-4435-94A0-D8D95DF019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9255099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CA98424-7C4D-4DC2-8BE2-7E3CD4AEBC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Öffentlich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1D1355A-7B10-4938-A6F4-8FFB41366C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S. </a:t>
            </a:r>
            <a:fld id="{2D4267CB-7295-494A-8DBC-885A54EB61C7}" type="slidenum">
              <a:rPr lang="de-DE" noProof="0" smtClean="0"/>
              <a:pPr/>
              <a:t>‹Nr.›</a:t>
            </a:fld>
            <a:r>
              <a:rPr lang="de-DE" noProof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9864696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D790791-4DEA-4890-82E0-5E36E76F65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F4917484-29D0-4980-B13E-0A7DF79983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441577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00" y="1435200"/>
            <a:ext cx="4946309" cy="5035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853DEA5-9637-41DA-88C0-83695E9C68E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64994" y="1435200"/>
            <a:ext cx="4952399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40EA46-596F-43FB-BC6A-854217819D3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4230D0-F474-4D4C-8A13-B403906D95E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55148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00" y="1435200"/>
            <a:ext cx="3292800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853DEA5-9637-41DA-88C0-83695E9C68E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60191" y="1435200"/>
            <a:ext cx="3292800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7F9D295-46D0-4DC4-B846-BF2F1645B14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34612" y="1435200"/>
            <a:ext cx="3292800" cy="5035200"/>
          </a:xfrm>
          <a:noFill/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1A031B-8F56-4988-A489-7BB8D23CDA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Öffentlich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9FC6CE-F873-4A26-8A0C-C47DF11A96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6796921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56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oleObject" Target="../embeddings/oleObject20.bin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tags" Target="../tags/tag24.xml"/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87A0A2-978C-4C7F-A664-9A7EFC9362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610038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592" imgH="595" progId="TCLayout.ActiveDocument.1">
                  <p:embed/>
                </p:oleObj>
              </mc:Choice>
              <mc:Fallback>
                <p:oleObj name="think-cell Folie" r:id="rId38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87A0A2-978C-4C7F-A664-9A7EFC9362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7999" y="344853"/>
            <a:ext cx="9120000" cy="672000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7101" y="1435371"/>
            <a:ext cx="10655095" cy="503502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endParaRPr lang="de-DE" noProof="0"/>
          </a:p>
          <a:p>
            <a:pPr lvl="5"/>
            <a:endParaRPr lang="de-DE" noProof="0"/>
          </a:p>
          <a:p>
            <a:pPr lvl="4"/>
            <a:endParaRPr lang="de-DE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 vert="vert270" lIns="0" tIns="0" rIns="0" bIns="0" rtlCol="0" anchor="ctr"/>
          <a:lstStyle>
            <a:lvl1pPr algn="l">
              <a:defRPr lang="en-US" sz="9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Öffentlic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70400" y="6475200"/>
            <a:ext cx="168000" cy="382800"/>
          </a:xfrm>
          <a:prstGeom prst="rect">
            <a:avLst/>
          </a:prstGeom>
        </p:spPr>
        <p:txBody>
          <a:bodyPr vert="vert270" wrap="none" lIns="0" tIns="0" rIns="0" bIns="0" rtlCol="0" anchor="ctr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cxnSp>
        <p:nvCxnSpPr>
          <p:cNvPr id="9" name="Gerader Verbinder 5">
            <a:extLst>
              <a:ext uri="{FF2B5EF4-FFF2-40B4-BE49-F238E27FC236}">
                <a16:creationId xmlns:a16="http://schemas.microsoft.com/office/drawing/2014/main" id="{DA30C77D-0725-40E8-BDCA-47EF4E3CEC4F}"/>
              </a:ext>
            </a:extLst>
          </p:cNvPr>
          <p:cNvCxnSpPr>
            <a:cxnSpLocks/>
          </p:cNvCxnSpPr>
          <p:nvPr userDrawn="1"/>
        </p:nvCxnSpPr>
        <p:spPr>
          <a:xfrm>
            <a:off x="768000" y="1088853"/>
            <a:ext cx="1142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Grafik 77">
            <a:extLst>
              <a:ext uri="{FF2B5EF4-FFF2-40B4-BE49-F238E27FC236}">
                <a16:creationId xmlns:a16="http://schemas.microsoft.com/office/drawing/2014/main" id="{039FD0AF-ECA9-443C-8631-0F5672D07EFE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1249" y="185649"/>
            <a:ext cx="1761600" cy="188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37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687" r:id="rId2"/>
    <p:sldLayoutId id="2147483689" r:id="rId3"/>
    <p:sldLayoutId id="2147483690" r:id="rId4"/>
    <p:sldLayoutId id="2147483669" r:id="rId5"/>
    <p:sldLayoutId id="2147483691" r:id="rId6"/>
    <p:sldLayoutId id="2147483662" r:id="rId7"/>
    <p:sldLayoutId id="2147483670" r:id="rId8"/>
    <p:sldLayoutId id="2147483671" r:id="rId9"/>
    <p:sldLayoutId id="2147483672" r:id="rId10"/>
    <p:sldLayoutId id="2147483676" r:id="rId11"/>
    <p:sldLayoutId id="2147483677" r:id="rId12"/>
    <p:sldLayoutId id="2147483688" r:id="rId13"/>
    <p:sldLayoutId id="2147483666" r:id="rId14"/>
    <p:sldLayoutId id="2147483684" r:id="rId15"/>
    <p:sldLayoutId id="2147483663" r:id="rId16"/>
    <p:sldLayoutId id="2147483673" r:id="rId17"/>
    <p:sldLayoutId id="2147483679" r:id="rId18"/>
    <p:sldLayoutId id="2147483695" r:id="rId19"/>
    <p:sldLayoutId id="2147483692" r:id="rId20"/>
    <p:sldLayoutId id="2147483694" r:id="rId21"/>
    <p:sldLayoutId id="2147483698" r:id="rId22"/>
    <p:sldLayoutId id="2147483699" r:id="rId23"/>
    <p:sldLayoutId id="2147483674" r:id="rId24"/>
    <p:sldLayoutId id="2147483675" r:id="rId25"/>
    <p:sldLayoutId id="2147483696" r:id="rId26"/>
    <p:sldLayoutId id="2147483697" r:id="rId27"/>
    <p:sldLayoutId id="2147483702" r:id="rId28"/>
    <p:sldLayoutId id="2147483703" r:id="rId29"/>
    <p:sldLayoutId id="2147483704" r:id="rId30"/>
    <p:sldLayoutId id="2147483700" r:id="rId31"/>
    <p:sldLayoutId id="2147483705" r:id="rId32"/>
    <p:sldLayoutId id="2147483706" r:id="rId33"/>
    <p:sldLayoutId id="2147483683" r:id="rId34"/>
    <p:sldLayoutId id="2147483707" r:id="rId35"/>
  </p:sldLayoutIdLst>
  <p:hf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80000"/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276225" algn="l" defTabSz="914377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Arial Black" panose="020B0A040201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09625" indent="-266700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0" userDrawn="1">
          <p15:clr>
            <a:srgbClr val="F26B43"/>
          </p15:clr>
        </p15:guide>
        <p15:guide id="2" pos="6235" userDrawn="1">
          <p15:clr>
            <a:srgbClr val="F26B43"/>
          </p15:clr>
        </p15:guide>
        <p15:guide id="3" orient="horz" pos="216" userDrawn="1">
          <p15:clr>
            <a:srgbClr val="F26B43"/>
          </p15:clr>
        </p15:guide>
        <p15:guide id="4" pos="480" userDrawn="1">
          <p15:clr>
            <a:srgbClr val="F26B43"/>
          </p15:clr>
        </p15:guide>
        <p15:guide id="5" pos="7200" userDrawn="1">
          <p15:clr>
            <a:srgbClr val="F26B43"/>
          </p15:clr>
        </p15:guide>
        <p15:guide id="6" orient="horz" pos="648" userDrawn="1">
          <p15:clr>
            <a:srgbClr val="F26B43"/>
          </p15:clr>
        </p15:guide>
        <p15:guide id="7" orient="horz" pos="904" userDrawn="1">
          <p15:clr>
            <a:srgbClr val="F26B43"/>
          </p15:clr>
        </p15:guide>
        <p15:guide id="8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87A0A2-978C-4C7F-A664-9A7EFC9362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7688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592" imgH="595" progId="TCLayout.ActiveDocument.1">
                  <p:embed/>
                </p:oleObj>
              </mc:Choice>
              <mc:Fallback>
                <p:oleObj name="think-cell Folie" r:id="rId36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87A0A2-978C-4C7F-A664-9A7EFC9362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7999" y="344853"/>
            <a:ext cx="9120000" cy="672000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7101" y="1435371"/>
            <a:ext cx="10655095" cy="503502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endParaRPr lang="de-DE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872543" y="1435371"/>
            <a:ext cx="168000" cy="4981819"/>
          </a:xfrm>
          <a:prstGeom prst="rect">
            <a:avLst/>
          </a:prstGeom>
        </p:spPr>
        <p:txBody>
          <a:bodyPr vert="vert270" lIns="0" tIns="0" rIns="0" bIns="0" rtlCol="0" anchor="ctr"/>
          <a:lstStyle>
            <a:lvl1pPr algn="l">
              <a:defRPr lang="en-US" sz="9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Öffentlic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70400" y="6475200"/>
            <a:ext cx="168000" cy="382800"/>
          </a:xfrm>
          <a:prstGeom prst="rect">
            <a:avLst/>
          </a:prstGeom>
        </p:spPr>
        <p:txBody>
          <a:bodyPr vert="vert270" wrap="none" lIns="0" tIns="0" rIns="0" bIns="0" rtlCol="0" anchor="ctr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2D4267CB-7295-494A-8DBC-885A54EB61C7}" type="slidenum">
              <a:rPr lang="de-DE" smtClean="0"/>
              <a:pPr/>
              <a:t>‹Nr.›</a:t>
            </a:fld>
            <a:r>
              <a:rPr lang="de-DE"/>
              <a:t> |</a:t>
            </a:r>
          </a:p>
        </p:txBody>
      </p:sp>
      <p:cxnSp>
        <p:nvCxnSpPr>
          <p:cNvPr id="9" name="Gerader Verbinder 5">
            <a:extLst>
              <a:ext uri="{FF2B5EF4-FFF2-40B4-BE49-F238E27FC236}">
                <a16:creationId xmlns:a16="http://schemas.microsoft.com/office/drawing/2014/main" id="{DA30C77D-0725-40E8-BDCA-47EF4E3CEC4F}"/>
              </a:ext>
            </a:extLst>
          </p:cNvPr>
          <p:cNvCxnSpPr>
            <a:cxnSpLocks/>
          </p:cNvCxnSpPr>
          <p:nvPr userDrawn="1"/>
        </p:nvCxnSpPr>
        <p:spPr>
          <a:xfrm>
            <a:off x="768000" y="1088853"/>
            <a:ext cx="114240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Grafik 77">
            <a:extLst>
              <a:ext uri="{FF2B5EF4-FFF2-40B4-BE49-F238E27FC236}">
                <a16:creationId xmlns:a16="http://schemas.microsoft.com/office/drawing/2014/main" id="{039FD0AF-ECA9-443C-8631-0F5672D07EFE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1249" y="185649"/>
            <a:ext cx="1761600" cy="188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151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</p:sldLayoutIdLst>
  <p:hf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1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800"/>
        </a:spcBef>
        <a:buFontTx/>
        <a:buNone/>
        <a:defRPr sz="1333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800"/>
        </a:spcBef>
        <a:buFontTx/>
        <a:buNone/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287993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67981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 Black" panose="020B0A040201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47969" indent="-287993" algn="l" defTabSz="914377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0">
          <p15:clr>
            <a:srgbClr val="F26B43"/>
          </p15:clr>
        </p15:guide>
        <p15:guide id="2" pos="6235">
          <p15:clr>
            <a:srgbClr val="F26B43"/>
          </p15:clr>
        </p15:guide>
        <p15:guide id="3" orient="horz" pos="216">
          <p15:clr>
            <a:srgbClr val="F26B43"/>
          </p15:clr>
        </p15:guide>
        <p15:guide id="4" pos="480">
          <p15:clr>
            <a:srgbClr val="F26B43"/>
          </p15:clr>
        </p15:guide>
        <p15:guide id="5" pos="7200">
          <p15:clr>
            <a:srgbClr val="F26B43"/>
          </p15:clr>
        </p15:guide>
        <p15:guide id="6" orient="horz" pos="648">
          <p15:clr>
            <a:srgbClr val="F26B43"/>
          </p15:clr>
        </p15:guide>
        <p15:guide id="7" orient="horz" pos="904">
          <p15:clr>
            <a:srgbClr val="F26B43"/>
          </p15:clr>
        </p15:guide>
        <p15:guide id="8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43.xml"/><Relationship Id="rId5" Type="http://schemas.openxmlformats.org/officeDocument/2006/relationships/chart" Target="../charts/chart1.xml"/><Relationship Id="rId4" Type="http://schemas.openxmlformats.org/officeDocument/2006/relationships/image" Target="../media/image9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4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5.xml"/><Relationship Id="rId6" Type="http://schemas.openxmlformats.org/officeDocument/2006/relationships/image" Target="../media/image17.jpe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39.bin"/><Relationship Id="rId9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12" Type="http://schemas.openxmlformats.org/officeDocument/2006/relationships/image" Target="../media/image3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92999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C47DF763-AA73-4458-A594-85B7CBF3967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8314E9E-7F8C-4630-9CC1-992F41FB1B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46896" y="2987040"/>
            <a:ext cx="3975204" cy="553720"/>
          </a:xfrm>
        </p:spPr>
        <p:txBody>
          <a:bodyPr/>
          <a:lstStyle/>
          <a:p>
            <a:r>
              <a:rPr lang="de-DE"/>
              <a:t>Lernen Sie uns kenn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9BBBB13-9551-4698-BEB5-452C65D85A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46896" y="1850562"/>
            <a:ext cx="3975204" cy="899999"/>
          </a:xfrm>
        </p:spPr>
        <p:txBody>
          <a:bodyPr/>
          <a:lstStyle/>
          <a:p>
            <a:r>
              <a:rPr lang="de-DE" sz="2800">
                <a:latin typeface="Arial Black" panose="020B0A04020102020204" pitchFamily="34" charset="0"/>
              </a:rPr>
              <a:t>Wenn Software Potentiale hebt</a:t>
            </a:r>
          </a:p>
        </p:txBody>
      </p:sp>
    </p:spTree>
    <p:extLst>
      <p:ext uri="{BB962C8B-B14F-4D97-AF65-F5344CB8AC3E}">
        <p14:creationId xmlns:p14="http://schemas.microsoft.com/office/powerpoint/2010/main" val="33905762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9B74E4FD-689A-48A5-9F54-9BF728F21EF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00A462-3F2A-4D01-987B-36241D1EAE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Mario </a:t>
            </a:r>
          </a:p>
          <a:p>
            <a:r>
              <a:rPr lang="de-DE"/>
              <a:t>Akerman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D6CD97C-1AB0-4589-A28C-C4E245EE09D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6933" marR="6773">
              <a:lnSpc>
                <a:spcPct val="150000"/>
              </a:lnSpc>
              <a:spcBef>
                <a:spcPts val="127"/>
              </a:spcBef>
            </a:pPr>
            <a:r>
              <a:rPr lang="de-DE" sz="12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manager</a:t>
            </a:r>
          </a:p>
          <a:p>
            <a:pPr marL="16933" marR="6773">
              <a:lnSpc>
                <a:spcPct val="150000"/>
              </a:lnSpc>
              <a:spcBef>
                <a:spcPts val="127"/>
              </a:spcBef>
            </a:pPr>
            <a:r>
              <a:rPr lang="de-DE" sz="1200">
                <a:latin typeface="Arial" panose="020B0604020202020204" pitchFamily="34" charset="0"/>
                <a:cs typeface="Arial" panose="020B0604020202020204" pitchFamily="34" charset="0"/>
              </a:rPr>
              <a:t>Tel.: +49 151 40 22 9755</a:t>
            </a:r>
          </a:p>
          <a:p>
            <a:pPr marL="16933" marR="6773">
              <a:lnSpc>
                <a:spcPct val="150000"/>
              </a:lnSpc>
              <a:spcBef>
                <a:spcPts val="127"/>
              </a:spcBef>
            </a:pPr>
            <a:r>
              <a:rPr lang="de-DE" sz="1200" err="1">
                <a:latin typeface="Arial" panose="020B0604020202020204" pitchFamily="34" charset="0"/>
                <a:cs typeface="Arial" panose="020B0604020202020204" pitchFamily="34" charset="0"/>
              </a:rPr>
              <a:t>Mario.akermann@bcxp.de</a:t>
            </a:r>
            <a:endParaRPr lang="de-DE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fik 4" descr="Ein Bild, das Person, Mann, Anzug, stehend enthält.&#10;&#10;Automatisch generierte Beschreibung">
            <a:extLst>
              <a:ext uri="{FF2B5EF4-FFF2-40B4-BE49-F238E27FC236}">
                <a16:creationId xmlns:a16="http://schemas.microsoft.com/office/drawing/2014/main" id="{1BE005D3-8BD6-4B14-8F8B-22C5D63832D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4195" y="-1"/>
            <a:ext cx="6097805" cy="6858000"/>
          </a:xfrm>
          <a:prstGeom prst="rect">
            <a:avLst/>
          </a:prstGeom>
        </p:spPr>
      </p:pic>
      <p:pic>
        <p:nvPicPr>
          <p:cNvPr id="8" name="Grafik 7" descr="Ein Bild, das Menschliches Gesicht, Porträt, Person, Vorderkopf enthält.&#10;&#10;Automatisch generierte Beschreibung">
            <a:extLst>
              <a:ext uri="{FF2B5EF4-FFF2-40B4-BE49-F238E27FC236}">
                <a16:creationId xmlns:a16="http://schemas.microsoft.com/office/drawing/2014/main" id="{557A138A-FF12-4422-1507-EA601D5A265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069" b="-155"/>
          <a:stretch/>
        </p:blipFill>
        <p:spPr>
          <a:xfrm>
            <a:off x="6095963" y="0"/>
            <a:ext cx="6089972" cy="68686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780770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00A462-3F2A-4D01-987B-36241D1EAE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err="1"/>
              <a:t>felix</a:t>
            </a:r>
            <a:r>
              <a:rPr lang="de-DE"/>
              <a:t> </a:t>
            </a:r>
          </a:p>
          <a:p>
            <a:r>
              <a:rPr lang="de-DE" err="1"/>
              <a:t>grohme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D6CD97C-1AB0-4589-A28C-C4E245EE09D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6510" marR="6350">
              <a:spcBef>
                <a:spcPts val="127"/>
              </a:spcBef>
            </a:pPr>
            <a:r>
              <a:rPr lang="de-DE" b="1">
                <a:cs typeface="Arial"/>
              </a:rPr>
              <a:t>Software Engineer</a:t>
            </a:r>
            <a:endParaRPr lang="de-DE">
              <a:cs typeface="Arial"/>
            </a:endParaRPr>
          </a:p>
          <a:p>
            <a:pPr marL="16510" marR="6350">
              <a:spcBef>
                <a:spcPts val="127"/>
              </a:spcBef>
            </a:pPr>
            <a:r>
              <a:rPr lang="de-DE">
                <a:latin typeface="Arial"/>
                <a:cs typeface="Arial"/>
              </a:rPr>
              <a:t>Tel.: +49 151 40 22 9738</a:t>
            </a:r>
          </a:p>
          <a:p>
            <a:pPr marL="16510" marR="6350">
              <a:lnSpc>
                <a:spcPct val="150000"/>
              </a:lnSpc>
              <a:spcBef>
                <a:spcPts val="127"/>
              </a:spcBef>
            </a:pPr>
            <a:r>
              <a:rPr lang="de-DE">
                <a:latin typeface="Arial"/>
                <a:cs typeface="Arial"/>
              </a:rPr>
              <a:t>felix</a:t>
            </a:r>
            <a:r>
              <a:rPr lang="de-DE" sz="1200">
                <a:latin typeface="Arial"/>
                <a:cs typeface="Arial"/>
              </a:rPr>
              <a:t>.grohme@bcxp.de</a:t>
            </a:r>
          </a:p>
        </p:txBody>
      </p:sp>
      <p:pic>
        <p:nvPicPr>
          <p:cNvPr id="23" name="Bildplatzhalter 22">
            <a:extLst>
              <a:ext uri="{FF2B5EF4-FFF2-40B4-BE49-F238E27FC236}">
                <a16:creationId xmlns:a16="http://schemas.microsoft.com/office/drawing/2014/main" id="{20EE282B-93B1-2B20-418D-EF34EB73C9E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5567" r="5567"/>
          <a:stretch/>
        </p:blipFill>
        <p:spPr/>
      </p:pic>
    </p:spTree>
    <p:extLst>
      <p:ext uri="{BB962C8B-B14F-4D97-AF65-F5344CB8AC3E}">
        <p14:creationId xmlns:p14="http://schemas.microsoft.com/office/powerpoint/2010/main" val="27926813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02B67BCB-D046-E74F-9195-1127432CCF6C}"/>
              </a:ext>
            </a:extLst>
          </p:cNvPr>
          <p:cNvSpPr/>
          <p:nvPr/>
        </p:nvSpPr>
        <p:spPr>
          <a:xfrm>
            <a:off x="6098313" y="3429001"/>
            <a:ext cx="6091161" cy="3428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0000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1810E24-1329-4464-9E78-A308A157D5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4" progId="TCLayout.ActiveDocument.1">
                  <p:embed/>
                </p:oleObj>
              </mc:Choice>
              <mc:Fallback>
                <p:oleObj name="think-cell Folie" r:id="rId3" imgW="592" imgH="5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1810E24-1329-4464-9E78-A308A157D5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82C89488-EE19-514B-9A69-FF65AB2442FE}"/>
              </a:ext>
            </a:extLst>
          </p:cNvPr>
          <p:cNvSpPr/>
          <p:nvPr/>
        </p:nvSpPr>
        <p:spPr>
          <a:xfrm>
            <a:off x="6095787" y="0"/>
            <a:ext cx="6091161" cy="3428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0000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9242059-F1A9-6C4B-8349-2C17D1DD5A65}"/>
              </a:ext>
            </a:extLst>
          </p:cNvPr>
          <p:cNvSpPr/>
          <p:nvPr/>
        </p:nvSpPr>
        <p:spPr>
          <a:xfrm>
            <a:off x="3789" y="3428999"/>
            <a:ext cx="6095787" cy="3429001"/>
          </a:xfrm>
          <a:prstGeom prst="rect">
            <a:avLst/>
          </a:prstGeom>
          <a:solidFill>
            <a:srgbClr val="E40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0000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6903956-FB8F-044B-84A9-03CA2083F1B1}"/>
              </a:ext>
            </a:extLst>
          </p:cNvPr>
          <p:cNvSpPr/>
          <p:nvPr/>
        </p:nvSpPr>
        <p:spPr>
          <a:xfrm>
            <a:off x="0" y="0"/>
            <a:ext cx="6095787" cy="342899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highlight>
                <a:srgbClr val="0000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BD9A83E1-3F11-9D4B-94B4-23A69EC66E20}"/>
              </a:ext>
            </a:extLst>
          </p:cNvPr>
          <p:cNvSpPr txBox="1"/>
          <p:nvPr/>
        </p:nvSpPr>
        <p:spPr>
          <a:xfrm>
            <a:off x="6093689" y="4546242"/>
            <a:ext cx="6098312" cy="1194515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marR="0" lvl="0" indent="0" algn="ctr" defTabSz="609585" rtl="0" eaLnBrk="1" fontAlgn="auto" latinLnBrk="0" hangingPunct="1">
              <a:lnSpc>
                <a:spcPct val="100000"/>
              </a:lnSpc>
              <a:spcBef>
                <a:spcPts val="14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ERTIFIZIERT</a:t>
            </a:r>
            <a:endParaRPr kumimoji="0" lang="de-DE" sz="5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60958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N EN ISO</a:t>
            </a:r>
          </a:p>
          <a:p>
            <a:pPr marL="0" marR="0" lvl="0" indent="0" algn="ctr" defTabSz="60958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001:2015 | 14001:2015 | 27001:2013 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7685060-AF70-42E6-9ABF-740302B62750}"/>
              </a:ext>
            </a:extLst>
          </p:cNvPr>
          <p:cNvGrpSpPr/>
          <p:nvPr/>
        </p:nvGrpSpPr>
        <p:grpSpPr>
          <a:xfrm>
            <a:off x="7291259" y="567821"/>
            <a:ext cx="3852976" cy="1811680"/>
            <a:chOff x="7291259" y="567821"/>
            <a:chExt cx="3852976" cy="1811680"/>
          </a:xfrm>
        </p:grpSpPr>
        <p:graphicFrame>
          <p:nvGraphicFramePr>
            <p:cNvPr id="23" name="Diagramm 22">
              <a:extLst>
                <a:ext uri="{FF2B5EF4-FFF2-40B4-BE49-F238E27FC236}">
                  <a16:creationId xmlns:a16="http://schemas.microsoft.com/office/drawing/2014/main" id="{E84066A4-3DE8-884A-95AB-DB67A4DE587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810283430"/>
                </p:ext>
              </p:extLst>
            </p:nvPr>
          </p:nvGraphicFramePr>
          <p:xfrm>
            <a:off x="7968086" y="567821"/>
            <a:ext cx="2371302" cy="143962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21" name="object 6">
              <a:extLst>
                <a:ext uri="{FF2B5EF4-FFF2-40B4-BE49-F238E27FC236}">
                  <a16:creationId xmlns:a16="http://schemas.microsoft.com/office/drawing/2014/main" id="{3730653B-8EFD-5845-B97F-607C98307E1B}"/>
                </a:ext>
              </a:extLst>
            </p:cNvPr>
            <p:cNvSpPr txBox="1"/>
            <p:nvPr/>
          </p:nvSpPr>
          <p:spPr>
            <a:xfrm>
              <a:off x="7291259" y="1932370"/>
              <a:ext cx="3852976" cy="447131"/>
            </a:xfrm>
            <a:prstGeom prst="rect">
              <a:avLst/>
            </a:prstGeom>
          </p:spPr>
          <p:txBody>
            <a:bodyPr vert="horz" wrap="square" lIns="0" tIns="16087" rIns="0" bIns="0" rtlCol="0" anchor="t">
              <a:spAutoFit/>
            </a:bodyPr>
            <a:lstStyle/>
            <a:p>
              <a:pPr marL="16510" marR="6350" algn="ctr">
                <a:defRPr/>
              </a:pPr>
              <a:r>
                <a:rPr kumimoji="0" lang="de-DE" sz="2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100</a:t>
              </a:r>
              <a:r>
                <a:rPr lang="de-DE" sz="2800" b="1">
                  <a:solidFill>
                    <a:srgbClr val="FFFFFF"/>
                  </a:solidFill>
                  <a:latin typeface="Arial"/>
                  <a:cs typeface="Arial"/>
                </a:rPr>
                <a:t>+ </a:t>
              </a:r>
              <a:r>
                <a:rPr kumimoji="0" lang="de-DE" sz="28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Mitarbeiter:innen</a:t>
              </a:r>
              <a:endParaRPr lang="de-DE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sp>
        <p:nvSpPr>
          <p:cNvPr id="13" name="object 4">
            <a:extLst>
              <a:ext uri="{FF2B5EF4-FFF2-40B4-BE49-F238E27FC236}">
                <a16:creationId xmlns:a16="http://schemas.microsoft.com/office/drawing/2014/main" id="{892B3CA4-61C0-3F44-97FC-B8B12E822C5B}"/>
              </a:ext>
            </a:extLst>
          </p:cNvPr>
          <p:cNvSpPr txBox="1"/>
          <p:nvPr/>
        </p:nvSpPr>
        <p:spPr>
          <a:xfrm>
            <a:off x="5052" y="1049499"/>
            <a:ext cx="6096213" cy="1330002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 marR="0" lvl="0" indent="0" algn="ctr" defTabSz="609585" rtl="0" eaLnBrk="1" fontAlgn="auto" latinLnBrk="0" hangingPunct="1">
              <a:lnSpc>
                <a:spcPct val="100000"/>
              </a:lnSpc>
              <a:spcBef>
                <a:spcPts val="14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BÜROS</a:t>
            </a:r>
            <a:endParaRPr kumimoji="0" lang="de-DE" sz="5400" b="1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ünchen | Stuttgart | Berlin</a:t>
            </a:r>
          </a:p>
          <a:p>
            <a:pPr marL="0" marR="0" lvl="0" indent="0" algn="ctr" defTabSz="60958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de-DE" sz="6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F818E94-B5FE-4C8B-9730-267B53CF4A5D}"/>
              </a:ext>
            </a:extLst>
          </p:cNvPr>
          <p:cNvGrpSpPr/>
          <p:nvPr/>
        </p:nvGrpSpPr>
        <p:grpSpPr>
          <a:xfrm>
            <a:off x="9677" y="4157963"/>
            <a:ext cx="6084012" cy="1971072"/>
            <a:chOff x="-140099" y="3304386"/>
            <a:chExt cx="7434923" cy="1971072"/>
          </a:xfrm>
        </p:grpSpPr>
        <p:sp>
          <p:nvSpPr>
            <p:cNvPr id="24" name="object 4">
              <a:extLst>
                <a:ext uri="{FF2B5EF4-FFF2-40B4-BE49-F238E27FC236}">
                  <a16:creationId xmlns:a16="http://schemas.microsoft.com/office/drawing/2014/main" id="{EDF452D5-B0FD-4A60-A419-651971497F86}"/>
                </a:ext>
              </a:extLst>
            </p:cNvPr>
            <p:cNvSpPr txBox="1"/>
            <p:nvPr/>
          </p:nvSpPr>
          <p:spPr>
            <a:xfrm>
              <a:off x="-140099" y="3304386"/>
              <a:ext cx="7434923" cy="1453112"/>
            </a:xfrm>
            <a:prstGeom prst="rect">
              <a:avLst/>
            </a:prstGeom>
          </p:spPr>
          <p:txBody>
            <a:bodyPr vert="horz" wrap="square" lIns="0" tIns="18627" rIns="0" bIns="0" rtlCol="0">
              <a:spAutoFit/>
            </a:bodyPr>
            <a:lstStyle/>
            <a:p>
              <a:pPr marL="16933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14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5</a:t>
              </a:r>
              <a:endPara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609585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endParaRPr kumimoji="0" lang="de-DE" sz="6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352348D8-1680-4AF2-A63D-2057DC3D8FA6}"/>
                </a:ext>
              </a:extLst>
            </p:cNvPr>
            <p:cNvSpPr txBox="1"/>
            <p:nvPr/>
          </p:nvSpPr>
          <p:spPr>
            <a:xfrm>
              <a:off x="967513" y="4444461"/>
              <a:ext cx="525356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io. EUR </a:t>
              </a:r>
              <a:br>
                <a:rPr lang="de-DE" b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0" lang="de-DE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Jahresumsatz</a:t>
              </a:r>
              <a:endPara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79252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>
            <a:extLst>
              <a:ext uri="{FF2B5EF4-FFF2-40B4-BE49-F238E27FC236}">
                <a16:creationId xmlns:a16="http://schemas.microsoft.com/office/drawing/2014/main" id="{FE931B7A-DDF3-9741-9FE4-34C4F5888125}"/>
              </a:ext>
            </a:extLst>
          </p:cNvPr>
          <p:cNvSpPr txBox="1"/>
          <p:nvPr/>
        </p:nvSpPr>
        <p:spPr>
          <a:xfrm>
            <a:off x="721228" y="1245070"/>
            <a:ext cx="10830692" cy="2599965"/>
          </a:xfrm>
          <a:prstGeom prst="rect">
            <a:avLst/>
          </a:prstGeom>
        </p:spPr>
        <p:txBody>
          <a:bodyPr vert="horz" wrap="square" lIns="0" tIns="18627" rIns="0" bIns="0" rtlCol="0">
            <a:spAutoFit/>
          </a:bodyPr>
          <a:lstStyle/>
          <a:p>
            <a:pPr marL="16933">
              <a:lnSpc>
                <a:spcPct val="150000"/>
              </a:lnSpc>
              <a:spcBef>
                <a:spcPts val="147"/>
              </a:spcBef>
            </a:pPr>
            <a:r>
              <a:rPr lang="de-DE" sz="5867" b="1">
                <a:solidFill>
                  <a:srgbClr val="EA0029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SOFTWARE ENGINEERING</a:t>
            </a:r>
          </a:p>
          <a:p>
            <a:pPr marL="16933">
              <a:lnSpc>
                <a:spcPct val="150000"/>
              </a:lnSpc>
              <a:spcBef>
                <a:spcPts val="147"/>
              </a:spcBef>
            </a:pPr>
            <a:r>
              <a:rPr lang="de-DE" sz="5867" b="1">
                <a:latin typeface="Arial Black" panose="020B0604020202020204" pitchFamily="34" charset="0"/>
                <a:cs typeface="Arial Black" panose="020B0604020202020204" pitchFamily="34" charset="0"/>
              </a:rPr>
              <a:t>   CONSULTING</a:t>
            </a:r>
          </a:p>
        </p:txBody>
      </p:sp>
      <p:sp>
        <p:nvSpPr>
          <p:cNvPr id="5" name="object 6">
            <a:extLst>
              <a:ext uri="{FF2B5EF4-FFF2-40B4-BE49-F238E27FC236}">
                <a16:creationId xmlns:a16="http://schemas.microsoft.com/office/drawing/2014/main" id="{5F5CCC8B-61D5-9244-9BCB-952A3DF85AD5}"/>
              </a:ext>
            </a:extLst>
          </p:cNvPr>
          <p:cNvSpPr txBox="1"/>
          <p:nvPr/>
        </p:nvSpPr>
        <p:spPr>
          <a:xfrm>
            <a:off x="2421882" y="961015"/>
            <a:ext cx="7116725" cy="476883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L="16933" marR="1080320" indent="-1693" algn="ctr">
              <a:lnSpc>
                <a:spcPct val="140500"/>
              </a:lnSpc>
              <a:spcBef>
                <a:spcPts val="133"/>
              </a:spcBef>
            </a:pPr>
            <a:r>
              <a:rPr lang="de-DE" b="1">
                <a:latin typeface="Arial" panose="020B0604020202020204" pitchFamily="34" charset="0"/>
                <a:cs typeface="Arial" panose="020B0604020202020204" pitchFamily="34" charset="0"/>
              </a:rPr>
              <a:t>WAS TUN WIR EIGENTLICH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8430259-F5D7-5949-8B04-70E3CAA374A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139" y="4417139"/>
            <a:ext cx="2447020" cy="2447020"/>
          </a:xfrm>
          <a:prstGeom prst="rect">
            <a:avLst/>
          </a:prstGeom>
        </p:spPr>
      </p:pic>
      <p:pic>
        <p:nvPicPr>
          <p:cNvPr id="17" name="Grafik 16" descr="Ein Bild, das Text, Ventilator, Gerät, Vektorgrafiken enthält.&#10;&#10;Automatisch generierte Beschreibung">
            <a:extLst>
              <a:ext uri="{FF2B5EF4-FFF2-40B4-BE49-F238E27FC236}">
                <a16:creationId xmlns:a16="http://schemas.microsoft.com/office/drawing/2014/main" id="{E0A3AC50-B050-A242-9D88-23C230094FC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8901" y="4417139"/>
            <a:ext cx="2453430" cy="2453430"/>
          </a:xfrm>
          <a:prstGeom prst="rect">
            <a:avLst/>
          </a:prstGeom>
        </p:spPr>
      </p:pic>
      <p:pic>
        <p:nvPicPr>
          <p:cNvPr id="19" name="Grafik 18" descr="Ein Bild, das Unschärfe enthält.&#10;&#10;Automatisch generierte Beschreibung">
            <a:extLst>
              <a:ext uri="{FF2B5EF4-FFF2-40B4-BE49-F238E27FC236}">
                <a16:creationId xmlns:a16="http://schemas.microsoft.com/office/drawing/2014/main" id="{37D81899-9B1D-0140-AA1A-CA607EEBF64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9350" y="4417139"/>
            <a:ext cx="2453431" cy="2453431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E77618EA-E67B-6F47-8421-32F68393F9D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2330" y="4417139"/>
            <a:ext cx="2447021" cy="244702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6486339-F6BF-43B1-9916-B642F79F669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1881" y="4415369"/>
            <a:ext cx="2455200" cy="24552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DAF7983C-BCFF-4EF0-9329-0B57456BA48D}"/>
              </a:ext>
            </a:extLst>
          </p:cNvPr>
          <p:cNvSpPr txBox="1"/>
          <p:nvPr/>
        </p:nvSpPr>
        <p:spPr>
          <a:xfrm>
            <a:off x="4257675" y="2410634"/>
            <a:ext cx="59432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latin typeface="Arial" panose="020B0604020202020204" pitchFamily="34" charset="0"/>
                <a:cs typeface="Arial" panose="020B0604020202020204" pitchFamily="34" charset="0"/>
              </a:rPr>
              <a:t>EINZIGARTIGE SOFTWARELÖSUN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836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E29F724-98C3-4624-91D2-61C468F608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2892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E29F724-98C3-4624-91D2-61C468F60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BBF881D6-96B0-40FD-AFCF-A45CFD360529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25" name="Bildplatzhalter 24" descr="Ein Bild, das Text, drinnen enthält.&#10;&#10;Automatisch generierte Beschreibung">
            <a:extLst>
              <a:ext uri="{FF2B5EF4-FFF2-40B4-BE49-F238E27FC236}">
                <a16:creationId xmlns:a16="http://schemas.microsoft.com/office/drawing/2014/main" id="{A1852A01-5114-414F-9C83-266760ECF18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9A420A38-7CCD-46DC-91F8-953AC38BB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000" y="844077"/>
            <a:ext cx="7322501" cy="3939540"/>
          </a:xfrm>
        </p:spPr>
        <p:txBody>
          <a:bodyPr vert="horz"/>
          <a:lstStyle/>
          <a:p>
            <a:r>
              <a:rPr lang="de-DE">
                <a:solidFill>
                  <a:schemeClr val="bg1"/>
                </a:solidFill>
              </a:rPr>
              <a:t>Wenn aus</a:t>
            </a:r>
            <a:br>
              <a:rPr lang="de-DE">
                <a:solidFill>
                  <a:schemeClr val="bg1"/>
                </a:solidFill>
              </a:rPr>
            </a:br>
            <a:r>
              <a:rPr lang="de-DE" err="1">
                <a:solidFill>
                  <a:schemeClr val="bg1"/>
                </a:solidFill>
              </a:rPr>
              <a:t>fleets</a:t>
            </a:r>
            <a:br>
              <a:rPr lang="de-DE">
                <a:solidFill>
                  <a:schemeClr val="bg1"/>
                </a:solidFill>
              </a:rPr>
            </a:br>
            <a:r>
              <a:rPr lang="de-DE" err="1">
                <a:solidFill>
                  <a:schemeClr val="bg1"/>
                </a:solidFill>
              </a:rPr>
              <a:t>leads</a:t>
            </a:r>
            <a:br>
              <a:rPr lang="de-DE">
                <a:solidFill>
                  <a:schemeClr val="bg1"/>
                </a:solidFill>
              </a:rPr>
            </a:br>
            <a:r>
              <a:rPr lang="de-DE">
                <a:solidFill>
                  <a:schemeClr val="bg1"/>
                </a:solidFill>
              </a:rPr>
              <a:t>werden</a:t>
            </a:r>
          </a:p>
        </p:txBody>
      </p:sp>
      <p:sp>
        <p:nvSpPr>
          <p:cNvPr id="2" name="Untertitel 1">
            <a:extLst>
              <a:ext uri="{FF2B5EF4-FFF2-40B4-BE49-F238E27FC236}">
                <a16:creationId xmlns:a16="http://schemas.microsoft.com/office/drawing/2014/main" id="{F99E63C4-69FB-4778-9B91-4F150AE2C0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26765" y="1028701"/>
            <a:ext cx="2793706" cy="3133724"/>
          </a:xfrm>
        </p:spPr>
        <p:txBody>
          <a:bodyPr/>
          <a:lstStyle/>
          <a:p>
            <a:r>
              <a:rPr lang="de-DE">
                <a:solidFill>
                  <a:schemeClr val="bg1"/>
                </a:solidFill>
              </a:rPr>
              <a:t>System zur Abwicklung </a:t>
            </a:r>
            <a:br>
              <a:rPr lang="de-DE">
                <a:solidFill>
                  <a:schemeClr val="bg1"/>
                </a:solidFill>
              </a:rPr>
            </a:br>
            <a:r>
              <a:rPr lang="de-DE">
                <a:solidFill>
                  <a:schemeClr val="bg1"/>
                </a:solidFill>
              </a:rPr>
              <a:t>des Flotten-Geschäfts</a:t>
            </a:r>
          </a:p>
          <a:p>
            <a:pPr lvl="1"/>
            <a:br>
              <a:rPr lang="de-DE">
                <a:solidFill>
                  <a:schemeClr val="bg1"/>
                </a:solidFill>
              </a:rPr>
            </a:br>
            <a:r>
              <a:rPr lang="de-DE">
                <a:solidFill>
                  <a:schemeClr val="bg1"/>
                </a:solidFill>
              </a:rPr>
              <a:t>Zeitkritische Software-Implementierung zum Erhalt und Ausbau des Leasing-Flotten-Geschäfts. </a:t>
            </a:r>
          </a:p>
          <a:p>
            <a:pPr lvl="1"/>
            <a:endParaRPr lang="de-DE">
              <a:solidFill>
                <a:schemeClr val="bg1"/>
              </a:solidFill>
            </a:endParaRPr>
          </a:p>
          <a:p>
            <a:pPr lvl="1"/>
            <a:r>
              <a:rPr lang="de-DE">
                <a:solidFill>
                  <a:schemeClr val="bg1"/>
                </a:solidFill>
              </a:rPr>
              <a:t>Java, Spring Boot, </a:t>
            </a:r>
            <a:r>
              <a:rPr lang="de-DE" err="1">
                <a:solidFill>
                  <a:schemeClr val="bg1"/>
                </a:solidFill>
              </a:rPr>
              <a:t>React</a:t>
            </a:r>
            <a:r>
              <a:rPr lang="de-DE">
                <a:solidFill>
                  <a:schemeClr val="bg1"/>
                </a:solidFill>
              </a:rPr>
              <a:t>, CI/CD</a:t>
            </a:r>
          </a:p>
          <a:p>
            <a:endParaRPr lang="de-DE">
              <a:solidFill>
                <a:schemeClr val="bg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EAD571CE-F4E9-455B-86D4-B984BC1AB09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4337" y="4440397"/>
            <a:ext cx="1467452" cy="118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8098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D958EC3F-F2C0-4B76-84E2-5E0795F135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3049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D958EC3F-F2C0-4B76-84E2-5E0795F13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tragen, Mikroskop, schwarz, rot enthält.&#10;&#10;Automatisch generierte Beschreibung">
            <a:extLst>
              <a:ext uri="{FF2B5EF4-FFF2-40B4-BE49-F238E27FC236}">
                <a16:creationId xmlns:a16="http://schemas.microsoft.com/office/drawing/2014/main" id="{E95693DD-1073-4A7A-8E76-B6B8EF37AFD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42714" y="3428603"/>
            <a:ext cx="3049286" cy="3438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49F55905-E5C6-1041-95F1-C778A0BB21F1}"/>
              </a:ext>
            </a:extLst>
          </p:cNvPr>
          <p:cNvSpPr/>
          <p:nvPr/>
        </p:nvSpPr>
        <p:spPr>
          <a:xfrm>
            <a:off x="6096213" y="-3"/>
            <a:ext cx="3048000" cy="3429001"/>
          </a:xfrm>
          <a:prstGeom prst="rect">
            <a:avLst/>
          </a:prstGeom>
          <a:solidFill>
            <a:srgbClr val="E40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5716DFF-96E2-0E4A-AFC8-5E6B7C3C9E09}"/>
              </a:ext>
            </a:extLst>
          </p:cNvPr>
          <p:cNvSpPr/>
          <p:nvPr/>
        </p:nvSpPr>
        <p:spPr>
          <a:xfrm>
            <a:off x="6096427" y="3428998"/>
            <a:ext cx="3047573" cy="343760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AA1E6F-0BAA-CB49-951B-C1AFC9978530}"/>
              </a:ext>
            </a:extLst>
          </p:cNvPr>
          <p:cNvSpPr/>
          <p:nvPr/>
        </p:nvSpPr>
        <p:spPr>
          <a:xfrm>
            <a:off x="-1" y="3429000"/>
            <a:ext cx="3048000" cy="3429000"/>
          </a:xfrm>
          <a:prstGeom prst="rect">
            <a:avLst/>
          </a:prstGeom>
          <a:solidFill>
            <a:srgbClr val="E40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>
              <a:highlight>
                <a:srgbClr val="000000"/>
              </a:highlight>
            </a:endParaRPr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B5F139FB-5F61-1B4E-B355-AD64F8809B99}"/>
              </a:ext>
            </a:extLst>
          </p:cNvPr>
          <p:cNvSpPr txBox="1"/>
          <p:nvPr/>
        </p:nvSpPr>
        <p:spPr>
          <a:xfrm>
            <a:off x="741354" y="4383160"/>
            <a:ext cx="1564863" cy="1516848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Z 1 &amp; 2</a:t>
            </a:r>
          </a:p>
          <a:p>
            <a:pPr algn="ctr">
              <a:lnSpc>
                <a:spcPct val="150000"/>
              </a:lnSpc>
            </a:pPr>
            <a:endParaRPr lang="de-DE" sz="1333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de-DE"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 BESTEN </a:t>
            </a:r>
          </a:p>
          <a:p>
            <a:pPr algn="ctr">
              <a:lnSpc>
                <a:spcPct val="150000"/>
              </a:lnSpc>
            </a:pPr>
            <a:r>
              <a:rPr lang="de-DE"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BEITGEBER IT</a:t>
            </a:r>
          </a:p>
          <a:p>
            <a:pPr algn="ctr">
              <a:lnSpc>
                <a:spcPct val="150000"/>
              </a:lnSpc>
            </a:pPr>
            <a:r>
              <a:rPr lang="de-DE"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TELSTAND</a:t>
            </a:r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E3053F66-5445-B14F-A835-B72E0937EFC5}"/>
              </a:ext>
            </a:extLst>
          </p:cNvPr>
          <p:cNvSpPr txBox="1"/>
          <p:nvPr/>
        </p:nvSpPr>
        <p:spPr>
          <a:xfrm>
            <a:off x="6837462" y="946486"/>
            <a:ext cx="1564863" cy="1516848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Z 2 &amp; 3</a:t>
            </a:r>
          </a:p>
          <a:p>
            <a:pPr algn="ctr">
              <a:lnSpc>
                <a:spcPct val="150000"/>
              </a:lnSpc>
            </a:pPr>
            <a:endParaRPr lang="de-DE" sz="1333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de-DE"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 FAMILIEN-</a:t>
            </a:r>
          </a:p>
          <a:p>
            <a:pPr algn="ctr">
              <a:lnSpc>
                <a:spcPct val="150000"/>
              </a:lnSpc>
            </a:pPr>
            <a:r>
              <a:rPr lang="de-DE"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UNDLICHSTEN</a:t>
            </a:r>
          </a:p>
          <a:p>
            <a:pPr algn="ctr">
              <a:lnSpc>
                <a:spcPct val="150000"/>
              </a:lnSpc>
            </a:pPr>
            <a:r>
              <a:rPr lang="de-DE"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NEHMEN</a:t>
            </a:r>
          </a:p>
        </p:txBody>
      </p:sp>
      <p:sp>
        <p:nvSpPr>
          <p:cNvPr id="15" name="object 6">
            <a:extLst>
              <a:ext uri="{FF2B5EF4-FFF2-40B4-BE49-F238E27FC236}">
                <a16:creationId xmlns:a16="http://schemas.microsoft.com/office/drawing/2014/main" id="{54CCABCF-3E10-4E49-A42B-BB0C8220C861}"/>
              </a:ext>
            </a:extLst>
          </p:cNvPr>
          <p:cNvSpPr txBox="1"/>
          <p:nvPr/>
        </p:nvSpPr>
        <p:spPr>
          <a:xfrm>
            <a:off x="410385" y="1254199"/>
            <a:ext cx="2226799" cy="1209135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>
                <a:solidFill>
                  <a:schemeClr val="tx1"/>
                </a:solidFill>
              </a:rPr>
              <a:t>PLATZ 1</a:t>
            </a:r>
          </a:p>
          <a:p>
            <a:endParaRPr lang="de-DE">
              <a:solidFill>
                <a:schemeClr val="tx1"/>
              </a:solidFill>
            </a:endParaRPr>
          </a:p>
          <a:p>
            <a:r>
              <a:rPr lang="de-DE">
                <a:solidFill>
                  <a:schemeClr val="tx1"/>
                </a:solidFill>
              </a:rPr>
              <a:t>DER BESTEN</a:t>
            </a:r>
            <a:br>
              <a:rPr lang="de-DE">
                <a:solidFill>
                  <a:schemeClr val="tx1"/>
                </a:solidFill>
              </a:rPr>
            </a:br>
            <a:r>
              <a:rPr lang="de-DE">
                <a:solidFill>
                  <a:schemeClr val="tx1"/>
                </a:solidFill>
              </a:rPr>
              <a:t>CHEFS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5F53786-4DD5-1C43-9F90-9CCC62FB841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1937" y="1851783"/>
            <a:ext cx="2584739" cy="1044339"/>
          </a:xfrm>
          <a:prstGeom prst="rect">
            <a:avLst/>
          </a:prstGeom>
        </p:spPr>
      </p:pic>
      <p:sp>
        <p:nvSpPr>
          <p:cNvPr id="19" name="object 6">
            <a:extLst>
              <a:ext uri="{FF2B5EF4-FFF2-40B4-BE49-F238E27FC236}">
                <a16:creationId xmlns:a16="http://schemas.microsoft.com/office/drawing/2014/main" id="{9D291750-4250-E94A-9CF4-9F1E38A48E4D}"/>
              </a:ext>
            </a:extLst>
          </p:cNvPr>
          <p:cNvSpPr txBox="1"/>
          <p:nvPr/>
        </p:nvSpPr>
        <p:spPr>
          <a:xfrm>
            <a:off x="6473310" y="5126734"/>
            <a:ext cx="2429700" cy="508687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GREAT PLACE</a:t>
            </a:r>
          </a:p>
          <a:p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		TO WORK </a:t>
            </a:r>
            <a:endParaRPr lang="de-DE" sz="1600" baseline="30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Grafik 21" descr="Ein Bild, das Text, Geschirr, Teller enthält.&#10;&#10;Automatisch generierte Beschreibung">
            <a:extLst>
              <a:ext uri="{FF2B5EF4-FFF2-40B4-BE49-F238E27FC236}">
                <a16:creationId xmlns:a16="http://schemas.microsoft.com/office/drawing/2014/main" id="{64CE4703-59D0-2043-AA67-68519B84891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4707" y="700915"/>
            <a:ext cx="2226799" cy="682827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B4ACEF7-2472-4374-99D4-A4F5829269E4}"/>
              </a:ext>
            </a:extLst>
          </p:cNvPr>
          <p:cNvGrpSpPr/>
          <p:nvPr/>
        </p:nvGrpSpPr>
        <p:grpSpPr>
          <a:xfrm>
            <a:off x="405316" y="233598"/>
            <a:ext cx="2235673" cy="724394"/>
            <a:chOff x="415476" y="233598"/>
            <a:chExt cx="2235673" cy="724394"/>
          </a:xfrm>
        </p:grpSpPr>
        <p:pic>
          <p:nvPicPr>
            <p:cNvPr id="26" name="Grafik 25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F47887C0-F2AC-7C41-84A3-360E7AF601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53585" y="233599"/>
              <a:ext cx="1097564" cy="724393"/>
            </a:xfrm>
            <a:prstGeom prst="rect">
              <a:avLst/>
            </a:prstGeom>
          </p:spPr>
        </p:pic>
        <p:pic>
          <p:nvPicPr>
            <p:cNvPr id="30" name="Grafik 29" descr="Ein Bild, das Text, draußen, Schild, grün enthält.&#10;&#10;Automatisch generierte Beschreibung">
              <a:extLst>
                <a:ext uri="{FF2B5EF4-FFF2-40B4-BE49-F238E27FC236}">
                  <a16:creationId xmlns:a16="http://schemas.microsoft.com/office/drawing/2014/main" id="{4A180442-6083-164D-A5DD-A4C0BCD5DF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476" y="233598"/>
              <a:ext cx="1097564" cy="724393"/>
            </a:xfrm>
            <a:prstGeom prst="rect">
              <a:avLst/>
            </a:prstGeom>
          </p:spPr>
        </p:pic>
      </p:grpSp>
      <p:pic>
        <p:nvPicPr>
          <p:cNvPr id="9" name="Grafik 8" descr="Ein Bild, das rot, Boden, draußen, orange enthält.&#10;&#10;Automatisch generierte Beschreibung">
            <a:extLst>
              <a:ext uri="{FF2B5EF4-FFF2-40B4-BE49-F238E27FC236}">
                <a16:creationId xmlns:a16="http://schemas.microsoft.com/office/drawing/2014/main" id="{F8736D4A-32A1-6F44-8355-0777AEE7F56B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7572" y="-4"/>
            <a:ext cx="3048000" cy="3429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33B23262-9CE3-BD40-9AFE-7E094DBC7450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570" y="3774411"/>
            <a:ext cx="3047573" cy="2667315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3B05990D-AECC-4C54-8BD3-E1E2882BA0F2}"/>
              </a:ext>
            </a:extLst>
          </p:cNvPr>
          <p:cNvSpPr txBox="1"/>
          <p:nvPr/>
        </p:nvSpPr>
        <p:spPr>
          <a:xfrm>
            <a:off x="9383705" y="6651159"/>
            <a:ext cx="28082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rtifiziert  als Teil der eXXcellent solutions Deutschland </a:t>
            </a:r>
          </a:p>
        </p:txBody>
      </p:sp>
    </p:spTree>
    <p:extLst>
      <p:ext uri="{BB962C8B-B14F-4D97-AF65-F5344CB8AC3E}">
        <p14:creationId xmlns:p14="http://schemas.microsoft.com/office/powerpoint/2010/main" val="40615933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>
            <a:extLst>
              <a:ext uri="{FF2B5EF4-FFF2-40B4-BE49-F238E27FC236}">
                <a16:creationId xmlns:a16="http://schemas.microsoft.com/office/drawing/2014/main" id="{90CEB84D-C9C8-C24B-952D-69213507BB1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3398" y="1138544"/>
            <a:ext cx="1941143" cy="701400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161B3D41-B228-2C42-8EE7-DADE3479572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10" y="1216915"/>
            <a:ext cx="2238636" cy="595168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22C2FC8C-EE4D-624D-A051-6A77475B55B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1314" y="5272312"/>
            <a:ext cx="1698253" cy="955268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B17AFB50-AF38-0744-BED1-ADE161334F7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95470" y="2710968"/>
            <a:ext cx="1572788" cy="444417"/>
          </a:xfrm>
          <a:prstGeom prst="rect">
            <a:avLst/>
          </a:prstGeom>
        </p:spPr>
      </p:pic>
      <p:pic>
        <p:nvPicPr>
          <p:cNvPr id="52" name="Grafik 51" descr="Ein Bild, das Text, dunkel, Bild, schließen enthält.&#10;&#10;Automatisch generierte Beschreibung">
            <a:extLst>
              <a:ext uri="{FF2B5EF4-FFF2-40B4-BE49-F238E27FC236}">
                <a16:creationId xmlns:a16="http://schemas.microsoft.com/office/drawing/2014/main" id="{670C8810-139C-9640-BA6E-8A9D94F723D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3227" y="4135142"/>
            <a:ext cx="1754285" cy="289183"/>
          </a:xfrm>
          <a:prstGeom prst="rect">
            <a:avLst/>
          </a:prstGeom>
        </p:spPr>
      </p:pic>
      <p:pic>
        <p:nvPicPr>
          <p:cNvPr id="53" name="Grafik 5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5C0342E8-3EB8-834C-BB90-5B4A79F438C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66207" y="5490848"/>
            <a:ext cx="2275564" cy="518197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83928879-F02B-D144-B358-2110DAB591B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7941" y="2514139"/>
            <a:ext cx="2007120" cy="746399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47AFDDE0-598E-6646-B3B2-621396BE902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8741" y="2742285"/>
            <a:ext cx="1899107" cy="432492"/>
          </a:xfrm>
          <a:prstGeom prst="rect">
            <a:avLst/>
          </a:prstGeom>
        </p:spPr>
      </p:pic>
      <p:pic>
        <p:nvPicPr>
          <p:cNvPr id="57" name="Grafik 56" descr="Ein Bild, das Text, Geschirr, Teller enthält.&#10;&#10;Automatisch generierte Beschreibung">
            <a:extLst>
              <a:ext uri="{FF2B5EF4-FFF2-40B4-BE49-F238E27FC236}">
                <a16:creationId xmlns:a16="http://schemas.microsoft.com/office/drawing/2014/main" id="{D51D73DA-F071-0143-A67E-A8248A88977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9627" y="5451463"/>
            <a:ext cx="1230448" cy="674285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00CC3205-E66E-0548-863E-3E95998C32B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651" b="19966"/>
          <a:stretch/>
        </p:blipFill>
        <p:spPr>
          <a:xfrm>
            <a:off x="7358177" y="3860851"/>
            <a:ext cx="1485879" cy="83776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DDA8C56-7F66-994C-80AA-5B8B9593B5A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1461" y="848954"/>
            <a:ext cx="1510161" cy="122323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1E283CD-BBFD-4713-9B3D-5762332A8E44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biLevel thresh="7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colorTemperature colorTemp="112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119" y="3753295"/>
            <a:ext cx="1052877" cy="105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441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7506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xP 01/2022">
  <a:themeElements>
    <a:clrScheme name="211213_BCxP_Word">
      <a:dk1>
        <a:sysClr val="windowText" lastClr="000000"/>
      </a:dk1>
      <a:lt1>
        <a:srgbClr val="FFFFFF"/>
      </a:lt1>
      <a:dk2>
        <a:srgbClr val="EA0029"/>
      </a:dk2>
      <a:lt2>
        <a:srgbClr val="D3D3D3"/>
      </a:lt2>
      <a:accent1>
        <a:srgbClr val="EA0029"/>
      </a:accent1>
      <a:accent2>
        <a:srgbClr val="AC0020"/>
      </a:accent2>
      <a:accent3>
        <a:srgbClr val="690009"/>
      </a:accent3>
      <a:accent4>
        <a:srgbClr val="A0A0A0"/>
      </a:accent4>
      <a:accent5>
        <a:srgbClr val="767676"/>
      </a:accent5>
      <a:accent6>
        <a:srgbClr val="3D3D3D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CxP Fire">
      <a:srgbClr val="EA0029"/>
    </a:custClr>
    <a:custClr name="BCxP Red 1">
      <a:srgbClr val="690009"/>
    </a:custClr>
    <a:custClr name="BCxP Red 2">
      <a:srgbClr val="8D001B"/>
    </a:custClr>
    <a:custClr name="BCxP Red 3">
      <a:srgbClr val="AC0020"/>
    </a:custClr>
    <a:custClr name="BCxP Red 4">
      <a:srgbClr val="CF0027"/>
    </a:custClr>
    <a:custClr name="BCxP Red 5">
      <a:srgbClr val="FD2C54"/>
    </a:custClr>
    <a:custClr name="BCxP Deep Black">
      <a:srgbClr val="000000"/>
    </a:custClr>
    <a:custClr name="BCxP Grey 1">
      <a:srgbClr val="3D3D3D"/>
    </a:custClr>
    <a:custClr name="BCxP Grey 2">
      <a:srgbClr val="767676"/>
    </a:custClr>
    <a:custClr name="BCxP Grey 3">
      <a:srgbClr val="969696"/>
    </a:custClr>
    <a:custClr name="BCxP Grey 4">
      <a:srgbClr val="D3D3D3"/>
    </a:custClr>
    <a:custClr name="BCxP Grey 5">
      <a:srgbClr val="EDEDED"/>
    </a:custClr>
  </a:custClrLst>
  <a:extLst>
    <a:ext uri="{05A4C25C-085E-4340-85A3-A5531E510DB2}">
      <thm15:themeFamily xmlns:thm15="http://schemas.microsoft.com/office/thememl/2012/main" name="Präsentation17" id="{09EDB79E-4F86-DF4C-91AF-53512F81B1DD}" vid="{529E6EA1-0CA3-3E4B-901B-E63859714A23}"/>
    </a:ext>
  </a:extLst>
</a:theme>
</file>

<file path=ppt/theme/theme2.xml><?xml version="1.0" encoding="utf-8"?>
<a:theme xmlns:a="http://schemas.openxmlformats.org/drawingml/2006/main" name="1_BCxP 01/2022">
  <a:themeElements>
    <a:clrScheme name="211213_BCxP_Word">
      <a:dk1>
        <a:sysClr val="windowText" lastClr="000000"/>
      </a:dk1>
      <a:lt1>
        <a:srgbClr val="FFFFFF"/>
      </a:lt1>
      <a:dk2>
        <a:srgbClr val="EA0029"/>
      </a:dk2>
      <a:lt2>
        <a:srgbClr val="D3D3D3"/>
      </a:lt2>
      <a:accent1>
        <a:srgbClr val="EA0029"/>
      </a:accent1>
      <a:accent2>
        <a:srgbClr val="AC0020"/>
      </a:accent2>
      <a:accent3>
        <a:srgbClr val="690009"/>
      </a:accent3>
      <a:accent4>
        <a:srgbClr val="A0A0A0"/>
      </a:accent4>
      <a:accent5>
        <a:srgbClr val="767676"/>
      </a:accent5>
      <a:accent6>
        <a:srgbClr val="3D3D3D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CxP Fire">
      <a:srgbClr val="EA0029"/>
    </a:custClr>
    <a:custClr name="BCxP Red 1">
      <a:srgbClr val="690009"/>
    </a:custClr>
    <a:custClr name="BCxP Red 2">
      <a:srgbClr val="8D001B"/>
    </a:custClr>
    <a:custClr name="BCxP Red 3">
      <a:srgbClr val="AC0020"/>
    </a:custClr>
    <a:custClr name="BCxP Red 4">
      <a:srgbClr val="CF0027"/>
    </a:custClr>
    <a:custClr name="BCxP Red 5">
      <a:srgbClr val="FD2C54"/>
    </a:custClr>
    <a:custClr name="BCxP Deep Black">
      <a:srgbClr val="000000"/>
    </a:custClr>
    <a:custClr name="BCxP Grey 1">
      <a:srgbClr val="3D3D3D"/>
    </a:custClr>
    <a:custClr name="BCxP Grey 2">
      <a:srgbClr val="767676"/>
    </a:custClr>
    <a:custClr name="BCxP Grey 3">
      <a:srgbClr val="969696"/>
    </a:custClr>
    <a:custClr name="BCxP Grey 4">
      <a:srgbClr val="D3D3D3"/>
    </a:custClr>
    <a:custClr name="BCxP Grey 5">
      <a:srgbClr val="EDEDED"/>
    </a:custClr>
  </a:custClrLst>
  <a:extLst>
    <a:ext uri="{05A4C25C-085E-4340-85A3-A5531E510DB2}">
      <thm15:themeFamily xmlns:thm15="http://schemas.microsoft.com/office/thememl/2012/main" name="Präsentation17" id="{09EDB79E-4F86-DF4C-91AF-53512F81B1DD}" vid="{B6CB568B-274A-8B47-9474-AA41C8EB07CF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b1ace50-e4ad-4ae2-9d7d-681839688808" xsi:nil="true"/>
    <lcf76f155ced4ddcb4097134ff3c332f xmlns="d239f5fe-dd49-48ed-88ef-835ebb9d529a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313653AF4B4247AF4402B0D6D365F6" ma:contentTypeVersion="10" ma:contentTypeDescription="Ein neues Dokument erstellen." ma:contentTypeScope="" ma:versionID="eee766f61a1e26afcb6967f6ff18c181">
  <xsd:schema xmlns:xsd="http://www.w3.org/2001/XMLSchema" xmlns:xs="http://www.w3.org/2001/XMLSchema" xmlns:p="http://schemas.microsoft.com/office/2006/metadata/properties" xmlns:ns2="d239f5fe-dd49-48ed-88ef-835ebb9d529a" xmlns:ns3="eb1ace50-e4ad-4ae2-9d7d-681839688808" targetNamespace="http://schemas.microsoft.com/office/2006/metadata/properties" ma:root="true" ma:fieldsID="5e57c55c74544fdfd139306ab0703c2b" ns2:_="" ns3:_="">
    <xsd:import namespace="d239f5fe-dd49-48ed-88ef-835ebb9d529a"/>
    <xsd:import namespace="eb1ace50-e4ad-4ae2-9d7d-6818396888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39f5fe-dd49-48ed-88ef-835ebb9d529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3682493e-89a7-4849-b825-b171510c7c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1ace50-e4ad-4ae2-9d7d-68183968880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1a77271-dada-4b83-bc08-dc737accd653}" ma:internalName="TaxCatchAll" ma:showField="CatchAllData" ma:web="eb1ace50-e4ad-4ae2-9d7d-6818396888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5865259-0B53-415A-B130-F6151F7E6186}">
  <ds:schemaRefs>
    <ds:schemaRef ds:uri="d239f5fe-dd49-48ed-88ef-835ebb9d529a"/>
    <ds:schemaRef ds:uri="eb1ace50-e4ad-4ae2-9d7d-68183968880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4BA0151-DD2A-418C-9CBE-22D81A42DAA6}">
  <ds:schemaRefs>
    <ds:schemaRef ds:uri="d239f5fe-dd49-48ed-88ef-835ebb9d529a"/>
    <ds:schemaRef ds:uri="eb1ace50-e4ad-4ae2-9d7d-68183968880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67CF51D-1AB7-421C-9685-F6296CD2D9B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2</Template>
  <TotalTime>0</TotalTime>
  <Words>196</Words>
  <Application>Microsoft Macintosh PowerPoint</Application>
  <PresentationFormat>Breitbild</PresentationFormat>
  <Paragraphs>52</Paragraphs>
  <Slides>10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7" baseType="lpstr">
      <vt:lpstr>Arial</vt:lpstr>
      <vt:lpstr>Arial Black</vt:lpstr>
      <vt:lpstr>Calibri</vt:lpstr>
      <vt:lpstr>Wingdings</vt:lpstr>
      <vt:lpstr>BCxP 01/2022</vt:lpstr>
      <vt:lpstr>1_BCxP 01/2022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enn aus fleets leads werde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Mario Akermann</dc:creator>
  <cp:keywords/>
  <dc:description>Version der Vorlage:
1.1 &gt;&gt; Änderung der neuen Adressen
Statt Außergewöhnliche Softwarelösungen
Jetzt Einzigartige Softwarelösungen</dc:description>
  <cp:lastModifiedBy>Mario Akermann</cp:lastModifiedBy>
  <cp:revision>2</cp:revision>
  <dcterms:created xsi:type="dcterms:W3CDTF">2023-06-19T15:07:24Z</dcterms:created>
  <dcterms:modified xsi:type="dcterms:W3CDTF">2025-03-23T18:52:2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313653AF4B4247AF4402B0D6D365F6</vt:lpwstr>
  </property>
  <property fmtid="{D5CDD505-2E9C-101B-9397-08002B2CF9AE}" pid="3" name="MediaServiceImageTags">
    <vt:lpwstr/>
  </property>
  <property fmtid="{D5CDD505-2E9C-101B-9397-08002B2CF9AE}" pid="4" name="Order">
    <vt:r8>1054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_SourceUrl">
    <vt:lpwstr/>
  </property>
  <property fmtid="{D5CDD505-2E9C-101B-9397-08002B2CF9AE}" pid="10" name="_SharedFileIndex">
    <vt:lpwstr/>
  </property>
  <property fmtid="{D5CDD505-2E9C-101B-9397-08002B2CF9AE}" pid="11" name="ComplianceAssetId">
    <vt:lpwstr/>
  </property>
  <property fmtid="{D5CDD505-2E9C-101B-9397-08002B2CF9AE}" pid="12" name="TemplateUrl">
    <vt:lpwstr/>
  </property>
</Properties>
</file>